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785835729466183</c:v>
                </c:pt>
                <c:pt idx="2">
                  <c:v>-0.0207939742467808</c:v>
                </c:pt>
                <c:pt idx="3">
                  <c:v>-0.025476184523065402</c:v>
                </c:pt>
                <c:pt idx="4">
                  <c:v>-0.0251818977372172</c:v>
                </c:pt>
                <c:pt idx="5">
                  <c:v>-0.0251818977372172</c:v>
                </c:pt>
                <c:pt idx="6">
                  <c:v>-0.0251818977372172</c:v>
                </c:pt>
                <c:pt idx="7">
                  <c:v>-0.0350517564695587</c:v>
                </c:pt>
                <c:pt idx="8">
                  <c:v>-0.0392361545193149</c:v>
                </c:pt>
                <c:pt idx="9">
                  <c:v>-0.0329106138267283</c:v>
                </c:pt>
                <c:pt idx="10">
                  <c:v>-0.0408946118264783</c:v>
                </c:pt>
                <c:pt idx="11">
                  <c:v>-0.055104513064133</c:v>
                </c:pt>
                <c:pt idx="12">
                  <c:v>-0.055104513064133</c:v>
                </c:pt>
                <c:pt idx="13">
                  <c:v>-0.055104513064133</c:v>
                </c:pt>
                <c:pt idx="14">
                  <c:v>-0.0832657832229029</c:v>
                </c:pt>
                <c:pt idx="15">
                  <c:v>-0.08245443180397549</c:v>
                </c:pt>
                <c:pt idx="16">
                  <c:v>-0.067043005375672</c:v>
                </c:pt>
                <c:pt idx="17">
                  <c:v>-0.054692711588948596</c:v>
                </c:pt>
                <c:pt idx="18">
                  <c:v>-0.0574114264283035</c:v>
                </c:pt>
                <c:pt idx="19">
                  <c:v>-0.0574114264283035</c:v>
                </c:pt>
                <c:pt idx="20">
                  <c:v>-0.0574114264283035</c:v>
                </c:pt>
                <c:pt idx="21">
                  <c:v>-0.0661256407050881</c:v>
                </c:pt>
                <c:pt idx="22">
                  <c:v>-0.081833604200525</c:v>
                </c:pt>
                <c:pt idx="23">
                  <c:v>-0.0826504563070384</c:v>
                </c:pt>
                <c:pt idx="24">
                  <c:v>-0.086324290536317</c:v>
                </c:pt>
                <c:pt idx="25">
                  <c:v>-0.0822452806600825</c:v>
                </c:pt>
                <c:pt idx="26">
                  <c:v>-0.0822452806600825</c:v>
                </c:pt>
                <c:pt idx="27">
                  <c:v>-0.0822452806600825</c:v>
                </c:pt>
                <c:pt idx="28">
                  <c:v>-0.0974991873984248</c:v>
                </c:pt>
                <c:pt idx="29">
                  <c:v>-0.0869657457182148</c:v>
                </c:pt>
                <c:pt idx="30">
                  <c:v>-0.0923805475684461</c:v>
                </c:pt>
                <c:pt idx="31">
                  <c:v>-0.073956994624328</c:v>
                </c:pt>
                <c:pt idx="32">
                  <c:v>-0.0737954744343043</c:v>
                </c:pt>
                <c:pt idx="33">
                  <c:v>-0.0737954744343043</c:v>
                </c:pt>
                <c:pt idx="34">
                  <c:v>-0.0737954744343043</c:v>
                </c:pt>
                <c:pt idx="35">
                  <c:v>-0.0711551443930491</c:v>
                </c:pt>
                <c:pt idx="36">
                  <c:v>-0.0722230278784848</c:v>
                </c:pt>
                <c:pt idx="37">
                  <c:v>-0.059576447055882</c:v>
                </c:pt>
                <c:pt idx="38">
                  <c:v>-0.044168896112014</c:v>
                </c:pt>
                <c:pt idx="39">
                  <c:v>-0.0207270908863608</c:v>
                </c:pt>
                <c:pt idx="40">
                  <c:v>-0.0207270908863608</c:v>
                </c:pt>
                <c:pt idx="41">
                  <c:v>-0.0207270908863608</c:v>
                </c:pt>
                <c:pt idx="42">
                  <c:v>-0.0141433929241155</c:v>
                </c:pt>
                <c:pt idx="43">
                  <c:v>-0.00552794099262408</c:v>
                </c:pt>
                <c:pt idx="44">
                  <c:v>0.005507688461057631</c:v>
                </c:pt>
                <c:pt idx="45">
                  <c:v>-0.00122377797224653</c:v>
                </c:pt>
                <c:pt idx="46">
                  <c:v>-0.00336579572446556</c:v>
                </c:pt>
                <c:pt idx="47">
                  <c:v>-0.00336579572446556</c:v>
                </c:pt>
                <c:pt idx="48">
                  <c:v>-0.00336579572446556</c:v>
                </c:pt>
                <c:pt idx="49">
                  <c:v>0.006501437679709961</c:v>
                </c:pt>
                <c:pt idx="50">
                  <c:v>0.0107407175896987</c:v>
                </c:pt>
                <c:pt idx="51">
                  <c:v>-0.00713826728341043</c:v>
                </c:pt>
                <c:pt idx="52">
                  <c:v>-0.000158144768096012</c:v>
                </c:pt>
                <c:pt idx="53">
                  <c:v>0.00678172271533942</c:v>
                </c:pt>
                <c:pt idx="54">
                  <c:v>0.00678172271533942</c:v>
                </c:pt>
                <c:pt idx="55">
                  <c:v>0.00678172271533942</c:v>
                </c:pt>
                <c:pt idx="56">
                  <c:v>0.0036755844480560102</c:v>
                </c:pt>
                <c:pt idx="57">
                  <c:v>0.005485810726340789</c:v>
                </c:pt>
                <c:pt idx="58">
                  <c:v>0.00323590448806101</c:v>
                </c:pt>
                <c:pt idx="59">
                  <c:v>0.0221750218777347</c:v>
                </c:pt>
                <c:pt idx="60">
                  <c:v>0.0228597324665583</c:v>
                </c:pt>
                <c:pt idx="61">
                  <c:v>0.0228597324665583</c:v>
                </c:pt>
                <c:pt idx="62">
                  <c:v>0.0228597324665583</c:v>
                </c:pt>
                <c:pt idx="63">
                  <c:v>0.028414676834604302</c:v>
                </c:pt>
                <c:pt idx="64">
                  <c:v>0.027270533816727102</c:v>
                </c:pt>
                <c:pt idx="65">
                  <c:v>0.0101550193774222</c:v>
                </c:pt>
                <c:pt idx="66">
                  <c:v>0.019417552194024298</c:v>
                </c:pt>
                <c:pt idx="67">
                  <c:v>0.0263301662707838</c:v>
                </c:pt>
                <c:pt idx="68">
                  <c:v>0.0263301662707838</c:v>
                </c:pt>
                <c:pt idx="69">
                  <c:v>0.0263301662707838</c:v>
                </c:pt>
                <c:pt idx="70">
                  <c:v>0.019713589198649798</c:v>
                </c:pt>
                <c:pt idx="71">
                  <c:v>0.025503812976622096</c:v>
                </c:pt>
                <c:pt idx="72">
                  <c:v>0.023593199149893704</c:v>
                </c:pt>
                <c:pt idx="73">
                  <c:v>0.020140017502187798</c:v>
                </c:pt>
                <c:pt idx="74">
                  <c:v>0.0157919739967496</c:v>
                </c:pt>
                <c:pt idx="75">
                  <c:v>0.0157919739967496</c:v>
                </c:pt>
                <c:pt idx="76">
                  <c:v>0.0157919739967496</c:v>
                </c:pt>
                <c:pt idx="77">
                  <c:v>0.011686210776347</c:v>
                </c:pt>
                <c:pt idx="78">
                  <c:v>0.00459107388423553</c:v>
                </c:pt>
                <c:pt idx="79">
                  <c:v>-0.0138079759969996</c:v>
                </c:pt>
                <c:pt idx="80">
                  <c:v>-0.012232404050506301</c:v>
                </c:pt>
                <c:pt idx="81">
                  <c:v>-0.043168896112014</c:v>
                </c:pt>
                <c:pt idx="82">
                  <c:v>-0.043168896112014</c:v>
                </c:pt>
                <c:pt idx="83">
                  <c:v>-0.043168896112014</c:v>
                </c:pt>
                <c:pt idx="84">
                  <c:v>-0.0316643330416302</c:v>
                </c:pt>
                <c:pt idx="85">
                  <c:v>-0.05117152144018</c:v>
                </c:pt>
                <c:pt idx="86">
                  <c:v>-0.0574165520690086</c:v>
                </c:pt>
                <c:pt idx="87">
                  <c:v>-0.0467155894486811</c:v>
                </c:pt>
                <c:pt idx="88">
                  <c:v>-0.0663081635204401</c:v>
                </c:pt>
                <c:pt idx="89">
                  <c:v>-0.0663081635204401</c:v>
                </c:pt>
                <c:pt idx="90">
                  <c:v>-0.0663081635204401</c:v>
                </c:pt>
                <c:pt idx="91">
                  <c:v>-0.0636775846980873</c:v>
                </c:pt>
                <c:pt idx="92">
                  <c:v>-0.0307317164645581</c:v>
                </c:pt>
                <c:pt idx="93">
                  <c:v>-0.0221196399549944</c:v>
                </c:pt>
                <c:pt idx="94">
                  <c:v>-0.0324573071633954</c:v>
                </c:pt>
                <c:pt idx="95">
                  <c:v>-0.0367653456682085</c:v>
                </c:pt>
                <c:pt idx="96">
                  <c:v>-0.0367653456682085</c:v>
                </c:pt>
                <c:pt idx="97">
                  <c:v>-0.0367653456682085</c:v>
                </c:pt>
                <c:pt idx="98">
                  <c:v>-0.0482977872234029</c:v>
                </c:pt>
                <c:pt idx="99">
                  <c:v>-0.0663435429428679</c:v>
                </c:pt>
                <c:pt idx="100">
                  <c:v>-0.0570248781097637</c:v>
                </c:pt>
                <c:pt idx="101">
                  <c:v>-0.0629332416552069</c:v>
                </c:pt>
                <c:pt idx="102">
                  <c:v>-0.0750661332666583</c:v>
                </c:pt>
                <c:pt idx="103">
                  <c:v>-0.0750661332666583</c:v>
                </c:pt>
                <c:pt idx="104">
                  <c:v>-0.0750661332666583</c:v>
                </c:pt>
                <c:pt idx="105">
                  <c:v>-0.0938162270283786</c:v>
                </c:pt>
                <c:pt idx="106">
                  <c:v>-0.0707439679959995</c:v>
                </c:pt>
                <c:pt idx="107">
                  <c:v>-0.059377172146518296</c:v>
                </c:pt>
                <c:pt idx="108">
                  <c:v>-0.0488093511688961</c:v>
                </c:pt>
                <c:pt idx="109">
                  <c:v>-0.0494791848981123</c:v>
                </c:pt>
                <c:pt idx="110">
                  <c:v>-0.0494791848981123</c:v>
                </c:pt>
                <c:pt idx="111">
                  <c:v>-0.0494791848981123</c:v>
                </c:pt>
                <c:pt idx="112">
                  <c:v>-0.0409054881860233</c:v>
                </c:pt>
                <c:pt idx="113">
                  <c:v>-0.0485980747593449</c:v>
                </c:pt>
                <c:pt idx="114">
                  <c:v>-0.052422177772221495</c:v>
                </c:pt>
                <c:pt idx="115">
                  <c:v>-0.0534221777722215</c:v>
                </c:pt>
                <c:pt idx="116">
                  <c:v>-0.053419177397174604</c:v>
                </c:pt>
                <c:pt idx="117">
                  <c:v>-0.053419177397174604</c:v>
                </c:pt>
                <c:pt idx="118">
                  <c:v>-0.053419177397174604</c:v>
                </c:pt>
                <c:pt idx="119">
                  <c:v>-0.047924490561320206</c:v>
                </c:pt>
                <c:pt idx="120">
                  <c:v>-0.050874109263658006</c:v>
                </c:pt>
                <c:pt idx="121">
                  <c:v>-0.0735768221027628</c:v>
                </c:pt>
                <c:pt idx="122">
                  <c:v>-0.0789348668583573</c:v>
                </c:pt>
                <c:pt idx="123">
                  <c:v>-0.0857304663082885</c:v>
                </c:pt>
                <c:pt idx="124">
                  <c:v>-0.0857304663082885</c:v>
                </c:pt>
                <c:pt idx="125">
                  <c:v>-0.0857304663082885</c:v>
                </c:pt>
                <c:pt idx="126">
                  <c:v>-0.0904595574446806</c:v>
                </c:pt>
                <c:pt idx="127">
                  <c:v>-0.0652192774096762</c:v>
                </c:pt>
                <c:pt idx="128">
                  <c:v>-0.041418927365920705</c:v>
                </c:pt>
                <c:pt idx="129">
                  <c:v>-0.055172271533941705</c:v>
                </c:pt>
                <c:pt idx="130">
                  <c:v>-0.0622972871608951</c:v>
                </c:pt>
                <c:pt idx="131">
                  <c:v>-0.0622972871608951</c:v>
                </c:pt>
                <c:pt idx="132">
                  <c:v>-0.0622972871608951</c:v>
                </c:pt>
                <c:pt idx="133">
                  <c:v>-0.06196512064008</c:v>
                </c:pt>
                <c:pt idx="134">
                  <c:v>-0.0811726465808226</c:v>
                </c:pt>
                <c:pt idx="135">
                  <c:v>-0.0813361670208776</c:v>
                </c:pt>
                <c:pt idx="136">
                  <c:v>-0.0826870858857357</c:v>
                </c:pt>
                <c:pt idx="137">
                  <c:v>-0.110029253656707</c:v>
                </c:pt>
                <c:pt idx="138">
                  <c:v>-0.110029253656707</c:v>
                </c:pt>
                <c:pt idx="139">
                  <c:v>-0.110029253656707</c:v>
                </c:pt>
                <c:pt idx="140">
                  <c:v>-0.124422177772222</c:v>
                </c:pt>
                <c:pt idx="141">
                  <c:v>-0.14111638954869402</c:v>
                </c:pt>
                <c:pt idx="142">
                  <c:v>-0.139380547568446</c:v>
                </c:pt>
                <c:pt idx="143">
                  <c:v>-0.148109513689211</c:v>
                </c:pt>
                <c:pt idx="144">
                  <c:v>-0.137767970996375</c:v>
                </c:pt>
                <c:pt idx="145">
                  <c:v>-0.137767970996375</c:v>
                </c:pt>
                <c:pt idx="146">
                  <c:v>-0.137767970996375</c:v>
                </c:pt>
                <c:pt idx="147">
                  <c:v>-0.113366295786973</c:v>
                </c:pt>
                <c:pt idx="148">
                  <c:v>-0.101318289786223</c:v>
                </c:pt>
                <c:pt idx="149">
                  <c:v>-0.0972930366295787</c:v>
                </c:pt>
                <c:pt idx="150">
                  <c:v>-0.120311413926741</c:v>
                </c:pt>
                <c:pt idx="151">
                  <c:v>-0.10863570446305801</c:v>
                </c:pt>
                <c:pt idx="152">
                  <c:v>-0.10863570446305801</c:v>
                </c:pt>
                <c:pt idx="153">
                  <c:v>-0.10863570446305801</c:v>
                </c:pt>
                <c:pt idx="154">
                  <c:v>-0.10484735591949</c:v>
                </c:pt>
                <c:pt idx="155">
                  <c:v>-0.10007796965074</c:v>
                </c:pt>
                <c:pt idx="156">
                  <c:v>-0.0758160295922362</c:v>
                </c:pt>
                <c:pt idx="157">
                  <c:v>-0.0799896077990861</c:v>
                </c:pt>
                <c:pt idx="158">
                  <c:v>-0.0981340552738101</c:v>
                </c:pt>
                <c:pt idx="159">
                  <c:v>-0.0981340552738101</c:v>
                </c:pt>
                <c:pt idx="160">
                  <c:v>-0.0981340552738101</c:v>
                </c:pt>
                <c:pt idx="161">
                  <c:v>-0.10669824102665199</c:v>
                </c:pt>
                <c:pt idx="162">
                  <c:v>-0.08836177459435661</c:v>
                </c:pt>
                <c:pt idx="163">
                  <c:v>-0.08308991767219</c:v>
                </c:pt>
                <c:pt idx="164">
                  <c:v>-0.11133379721600599</c:v>
                </c:pt>
                <c:pt idx="165">
                  <c:v>-0.126214155459371</c:v>
                </c:pt>
                <c:pt idx="166">
                  <c:v>-0.126214155459371</c:v>
                </c:pt>
                <c:pt idx="167">
                  <c:v>-0.126214155459371</c:v>
                </c:pt>
                <c:pt idx="168">
                  <c:v>-0.133443324097504</c:v>
                </c:pt>
                <c:pt idx="169">
                  <c:v>-0.139628095193945</c:v>
                </c:pt>
                <c:pt idx="170">
                  <c:v>-0.14714780143176</c:v>
                </c:pt>
                <c:pt idx="171">
                  <c:v>-0.142938356480906</c:v>
                </c:pt>
                <c:pt idx="172">
                  <c:v>-0.120660218931918</c:v>
                </c:pt>
                <c:pt idx="173">
                  <c:v>-0.120660218931918</c:v>
                </c:pt>
                <c:pt idx="174">
                  <c:v>-0.120660218931918</c:v>
                </c:pt>
                <c:pt idx="175">
                  <c:v>-0.121908157559512</c:v>
                </c:pt>
                <c:pt idx="176">
                  <c:v>-0.137257989413856</c:v>
                </c:pt>
                <c:pt idx="177">
                  <c:v>-0.129588346002671</c:v>
                </c:pt>
                <c:pt idx="178">
                  <c:v>-0.130086635520272</c:v>
                </c:pt>
                <c:pt idx="179">
                  <c:v>-0.14681942899551198</c:v>
                </c:pt>
                <c:pt idx="180">
                  <c:v>-0.14681942899551198</c:v>
                </c:pt>
                <c:pt idx="181">
                  <c:v>-0.14681942899551198</c:v>
                </c:pt>
                <c:pt idx="182">
                  <c:v>-0.17777651780418802</c:v>
                </c:pt>
                <c:pt idx="183">
                  <c:v>-0.17548719678118002</c:v>
                </c:pt>
                <c:pt idx="184">
                  <c:v>-0.14592174317232598</c:v>
                </c:pt>
                <c:pt idx="185">
                  <c:v>-0.148702533491416</c:v>
                </c:pt>
                <c:pt idx="186">
                  <c:v>-0.16044044473463898</c:v>
                </c:pt>
                <c:pt idx="187">
                  <c:v>-0.16044044473463898</c:v>
                </c:pt>
                <c:pt idx="188">
                  <c:v>-0.16044044473463898</c:v>
                </c:pt>
                <c:pt idx="189">
                  <c:v>-0.177092532255244</c:v>
                </c:pt>
                <c:pt idx="190">
                  <c:v>-0.173433276737247</c:v>
                </c:pt>
                <c:pt idx="191">
                  <c:v>-0.13294079488903</c:v>
                </c:pt>
                <c:pt idx="192">
                  <c:v>-0.118025383775063</c:v>
                </c:pt>
                <c:pt idx="193">
                  <c:v>-0.10608544930353</c:v>
                </c:pt>
                <c:pt idx="194">
                  <c:v>-0.10608544930353</c:v>
                </c:pt>
                <c:pt idx="195">
                  <c:v>-0.10608544930353</c:v>
                </c:pt>
                <c:pt idx="196">
                  <c:v>-0.109185756667088</c:v>
                </c:pt>
                <c:pt idx="197">
                  <c:v>-0.09889641913969481</c:v>
                </c:pt>
                <c:pt idx="198">
                  <c:v>-0.106631893718518</c:v>
                </c:pt>
                <c:pt idx="199">
                  <c:v>-0.09680591790761771</c:v>
                </c:pt>
                <c:pt idx="200">
                  <c:v>-0.0992207930085772</c:v>
                </c:pt>
                <c:pt idx="201">
                  <c:v>-0.0992207930085772</c:v>
                </c:pt>
                <c:pt idx="202">
                  <c:v>-0.0992207930085772</c:v>
                </c:pt>
                <c:pt idx="203">
                  <c:v>-0.0905145735669691</c:v>
                </c:pt>
                <c:pt idx="204">
                  <c:v>-0.072169314386078</c:v>
                </c:pt>
                <c:pt idx="205">
                  <c:v>-0.0733572729705545</c:v>
                </c:pt>
                <c:pt idx="206">
                  <c:v>-0.0871779351941297</c:v>
                </c:pt>
                <c:pt idx="207">
                  <c:v>-0.0820000436847036</c:v>
                </c:pt>
                <c:pt idx="208">
                  <c:v>-0.0820000436847036</c:v>
                </c:pt>
                <c:pt idx="209">
                  <c:v>-0.0820000436847036</c:v>
                </c:pt>
                <c:pt idx="210">
                  <c:v>-0.0749195170450252</c:v>
                </c:pt>
                <c:pt idx="211">
                  <c:v>-0.09300478111469991</c:v>
                </c:pt>
                <c:pt idx="212">
                  <c:v>-0.11344725841249699</c:v>
                </c:pt>
                <c:pt idx="213">
                  <c:v>-0.11460039253255401</c:v>
                </c:pt>
                <c:pt idx="214">
                  <c:v>-0.116794643801062</c:v>
                </c:pt>
                <c:pt idx="215">
                  <c:v>-0.116794643801062</c:v>
                </c:pt>
                <c:pt idx="216">
                  <c:v>-0.116794643801062</c:v>
                </c:pt>
                <c:pt idx="217">
                  <c:v>-0.137053491801311</c:v>
                </c:pt>
                <c:pt idx="218">
                  <c:v>-0.139456689856337</c:v>
                </c:pt>
                <c:pt idx="219">
                  <c:v>-0.125865951767284</c:v>
                </c:pt>
                <c:pt idx="220">
                  <c:v>-0.137066718897589</c:v>
                </c:pt>
                <c:pt idx="221">
                  <c:v>-0.137295919675283</c:v>
                </c:pt>
                <c:pt idx="222">
                  <c:v>-0.137295919675283</c:v>
                </c:pt>
                <c:pt idx="223">
                  <c:v>-0.137295919675283</c:v>
                </c:pt>
                <c:pt idx="224">
                  <c:v>-0.134131026880679</c:v>
                </c:pt>
                <c:pt idx="225">
                  <c:v>-0.12181422350191</c:v>
                </c:pt>
                <c:pt idx="226">
                  <c:v>-0.12184005767432801</c:v>
                </c:pt>
                <c:pt idx="227">
                  <c:v>-0.142900178366298</c:v>
                </c:pt>
                <c:pt idx="228">
                  <c:v>-0.165337673794915</c:v>
                </c:pt>
                <c:pt idx="229">
                  <c:v>-0.165337673794915</c:v>
                </c:pt>
                <c:pt idx="230">
                  <c:v>-0.165337673794915</c:v>
                </c:pt>
                <c:pt idx="231">
                  <c:v>-0.17327207150135798</c:v>
                </c:pt>
                <c:pt idx="232">
                  <c:v>-0.193248293655352</c:v>
                </c:pt>
                <c:pt idx="233">
                  <c:v>-0.187070309663274</c:v>
                </c:pt>
                <c:pt idx="234">
                  <c:v>-0.16220171527342</c:v>
                </c:pt>
                <c:pt idx="235">
                  <c:v>-0.172974151825032</c:v>
                </c:pt>
                <c:pt idx="236">
                  <c:v>-0.172974151825032</c:v>
                </c:pt>
                <c:pt idx="237">
                  <c:v>-0.172974151825032</c:v>
                </c:pt>
                <c:pt idx="238">
                  <c:v>-0.17424343638428097</c:v>
                </c:pt>
                <c:pt idx="239">
                  <c:v>-0.16619939845009502</c:v>
                </c:pt>
                <c:pt idx="240">
                  <c:v>-0.14223985691929</c:v>
                </c:pt>
                <c:pt idx="241">
                  <c:v>-0.163894370250257</c:v>
                </c:pt>
                <c:pt idx="242">
                  <c:v>-0.176720210162354</c:v>
                </c:pt>
                <c:pt idx="243">
                  <c:v>-0.176720210162354</c:v>
                </c:pt>
                <c:pt idx="244">
                  <c:v>-0.176720210162354</c:v>
                </c:pt>
                <c:pt idx="245">
                  <c:v>-0.20960545826363097</c:v>
                </c:pt>
                <c:pt idx="246">
                  <c:v>-0.21144712474697702</c:v>
                </c:pt>
                <c:pt idx="247">
                  <c:v>-0.218979542730594</c:v>
                </c:pt>
                <c:pt idx="248">
                  <c:v>-0.224102562457804</c:v>
                </c:pt>
                <c:pt idx="249">
                  <c:v>-0.195634131146513</c:v>
                </c:pt>
                <c:pt idx="250">
                  <c:v>-0.195634131146513</c:v>
                </c:pt>
                <c:pt idx="251">
                  <c:v>-0.195634131146513</c:v>
                </c:pt>
                <c:pt idx="252">
                  <c:v>-0.19850461771224</c:v>
                </c:pt>
                <c:pt idx="253">
                  <c:v>-0.170119269099446</c:v>
                </c:pt>
                <c:pt idx="254">
                  <c:v>-0.196135004081357</c:v>
                </c:pt>
                <c:pt idx="255">
                  <c:v>-0.197820322153227</c:v>
                </c:pt>
                <c:pt idx="256">
                  <c:v>-0.19452811855694702</c:v>
                </c:pt>
                <c:pt idx="257">
                  <c:v>-0.19452811855694702</c:v>
                </c:pt>
                <c:pt idx="258">
                  <c:v>-0.19452811855694702</c:v>
                </c:pt>
                <c:pt idx="259">
                  <c:v>-0.18118745525690103</c:v>
                </c:pt>
                <c:pt idx="260">
                  <c:v>-0.19203274417473298</c:v>
                </c:pt>
                <c:pt idx="261">
                  <c:v>-0.185926992528736</c:v>
                </c:pt>
                <c:pt idx="262">
                  <c:v>-0.171219288161011</c:v>
                </c:pt>
                <c:pt idx="263">
                  <c:v>-0.146645100000034</c:v>
                </c:pt>
                <c:pt idx="264">
                  <c:v>-0.146645100000034</c:v>
                </c:pt>
                <c:pt idx="265">
                  <c:v>-0.146645100000034</c:v>
                </c:pt>
                <c:pt idx="266">
                  <c:v>-0.139279260760169</c:v>
                </c:pt>
                <c:pt idx="267">
                  <c:v>-0.143179807448552</c:v>
                </c:pt>
                <c:pt idx="268">
                  <c:v>-0.154015899401003</c:v>
                </c:pt>
                <c:pt idx="269">
                  <c:v>-0.137315140299562</c:v>
                </c:pt>
                <c:pt idx="270">
                  <c:v>-0.149478385357478</c:v>
                </c:pt>
                <c:pt idx="271">
                  <c:v>-0.149478385357478</c:v>
                </c:pt>
                <c:pt idx="272">
                  <c:v>-0.149478385357478</c:v>
                </c:pt>
                <c:pt idx="273">
                  <c:v>-0.143846225760251</c:v>
                </c:pt>
                <c:pt idx="274">
                  <c:v>-0.14238700836538398</c:v>
                </c:pt>
                <c:pt idx="275">
                  <c:v>-0.145276095535251</c:v>
                </c:pt>
                <c:pt idx="276">
                  <c:v>-0.164760125036334</c:v>
                </c:pt>
                <c:pt idx="277">
                  <c:v>-0.1830954588358</c:v>
                </c:pt>
                <c:pt idx="278">
                  <c:v>-0.1830954588358</c:v>
                </c:pt>
                <c:pt idx="279">
                  <c:v>-0.1830954588358</c:v>
                </c:pt>
                <c:pt idx="280">
                  <c:v>-0.219499717905322</c:v>
                </c:pt>
                <c:pt idx="281">
                  <c:v>-0.22102011241926298</c:v>
                </c:pt>
                <c:pt idx="282">
                  <c:v>-0.21011757659028</c:v>
                </c:pt>
                <c:pt idx="283">
                  <c:v>-0.237023386807798</c:v>
                </c:pt>
                <c:pt idx="284">
                  <c:v>-0.232485526969913</c:v>
                </c:pt>
                <c:pt idx="285">
                  <c:v>-0.232485526969913</c:v>
                </c:pt>
                <c:pt idx="286">
                  <c:v>-0.232485526969913</c:v>
                </c:pt>
                <c:pt idx="287">
                  <c:v>-0.228192617853814</c:v>
                </c:pt>
                <c:pt idx="288">
                  <c:v>-0.214679278436634</c:v>
                </c:pt>
                <c:pt idx="289">
                  <c:v>-0.224483941606099</c:v>
                </c:pt>
                <c:pt idx="290">
                  <c:v>-0.223219278548208</c:v>
                </c:pt>
                <c:pt idx="291">
                  <c:v>-0.19772014683032801</c:v>
                </c:pt>
                <c:pt idx="292">
                  <c:v>-0.19772014683032801</c:v>
                </c:pt>
                <c:pt idx="293">
                  <c:v>-0.19772014683032801</c:v>
                </c:pt>
                <c:pt idx="294">
                  <c:v>-0.194514536961296</c:v>
                </c:pt>
                <c:pt idx="295">
                  <c:v>-0.209538526767217</c:v>
                </c:pt>
                <c:pt idx="296">
                  <c:v>-0.220536534290979</c:v>
                </c:pt>
                <c:pt idx="297">
                  <c:v>-0.234228377788954</c:v>
                </c:pt>
                <c:pt idx="298">
                  <c:v>-0.23661247497489002</c:v>
                </c:pt>
                <c:pt idx="299">
                  <c:v>-0.23661247497489002</c:v>
                </c:pt>
                <c:pt idx="300">
                  <c:v>-0.23661247497489002</c:v>
                </c:pt>
                <c:pt idx="301">
                  <c:v>-0.238915716653845</c:v>
                </c:pt>
                <c:pt idx="302">
                  <c:v>-0.2440522182261</c:v>
                </c:pt>
                <c:pt idx="303">
                  <c:v>-0.242082971987515</c:v>
                </c:pt>
                <c:pt idx="304">
                  <c:v>-0.220394726171046</c:v>
                </c:pt>
                <c:pt idx="305">
                  <c:v>-0.217800301006056</c:v>
                </c:pt>
                <c:pt idx="306">
                  <c:v>-0.217800301006056</c:v>
                </c:pt>
                <c:pt idx="307">
                  <c:v>-0.217800301006056</c:v>
                </c:pt>
                <c:pt idx="308">
                  <c:v>-0.236003985454413</c:v>
                </c:pt>
                <c:pt idx="309">
                  <c:v>-0.23986535421723298</c:v>
                </c:pt>
                <c:pt idx="310">
                  <c:v>-0.241660864776718</c:v>
                </c:pt>
                <c:pt idx="311">
                  <c:v>-0.247141105914544</c:v>
                </c:pt>
                <c:pt idx="312">
                  <c:v>-0.236612682296702</c:v>
                </c:pt>
                <c:pt idx="313">
                  <c:v>-0.236612682296702</c:v>
                </c:pt>
                <c:pt idx="314">
                  <c:v>-0.236612682296702</c:v>
                </c:pt>
                <c:pt idx="315">
                  <c:v>-0.229574003092293</c:v>
                </c:pt>
                <c:pt idx="316">
                  <c:v>-0.213592601155006</c:v>
                </c:pt>
                <c:pt idx="317">
                  <c:v>-0.204712489609583</c:v>
                </c:pt>
                <c:pt idx="318">
                  <c:v>-0.202251579692017</c:v>
                </c:pt>
                <c:pt idx="319">
                  <c:v>-0.207765199641698</c:v>
                </c:pt>
                <c:pt idx="320">
                  <c:v>-0.207765199641698</c:v>
                </c:pt>
                <c:pt idx="321">
                  <c:v>-0.207765199641698</c:v>
                </c:pt>
                <c:pt idx="322">
                  <c:v>-0.212015607786179</c:v>
                </c:pt>
                <c:pt idx="323">
                  <c:v>-0.221787928752852</c:v>
                </c:pt>
                <c:pt idx="324">
                  <c:v>-0.21019397467828602</c:v>
                </c:pt>
                <c:pt idx="325">
                  <c:v>-0.197691640081072</c:v>
                </c:pt>
                <c:pt idx="326">
                  <c:v>-0.188342877577886</c:v>
                </c:pt>
                <c:pt idx="327">
                  <c:v>-0.188342877577886</c:v>
                </c:pt>
                <c:pt idx="328">
                  <c:v>-0.188342877577886</c:v>
                </c:pt>
                <c:pt idx="329">
                  <c:v>-0.184793009838751</c:v>
                </c:pt>
                <c:pt idx="330">
                  <c:v>-0.191743162629108</c:v>
                </c:pt>
                <c:pt idx="331">
                  <c:v>-0.179475827306668</c:v>
                </c:pt>
                <c:pt idx="332">
                  <c:v>-0.16785367746556498</c:v>
                </c:pt>
                <c:pt idx="333">
                  <c:v>-0.168986483850534</c:v>
                </c:pt>
                <c:pt idx="334">
                  <c:v>-0.168986483850534</c:v>
                </c:pt>
                <c:pt idx="335">
                  <c:v>-0.168986483850534</c:v>
                </c:pt>
                <c:pt idx="336">
                  <c:v>-0.171310043067141</c:v>
                </c:pt>
                <c:pt idx="337">
                  <c:v>-0.178638972809427</c:v>
                </c:pt>
                <c:pt idx="338">
                  <c:v>-0.155849433523529</c:v>
                </c:pt>
                <c:pt idx="339">
                  <c:v>-0.153426670819512</c:v>
                </c:pt>
                <c:pt idx="340">
                  <c:v>-0.144904085740209</c:v>
                </c:pt>
                <c:pt idx="341">
                  <c:v>-0.144904085740209</c:v>
                </c:pt>
                <c:pt idx="342">
                  <c:v>-0.144904085740209</c:v>
                </c:pt>
                <c:pt idx="343">
                  <c:v>-0.145432963684583</c:v>
                </c:pt>
                <c:pt idx="344">
                  <c:v>-0.142617118823556</c:v>
                </c:pt>
                <c:pt idx="345">
                  <c:v>-0.152838809819406</c:v>
                </c:pt>
                <c:pt idx="346">
                  <c:v>-0.15294734278839</c:v>
                </c:pt>
                <c:pt idx="347">
                  <c:v>-0.163262017617266</c:v>
                </c:pt>
                <c:pt idx="348">
                  <c:v>-0.163262017617266</c:v>
                </c:pt>
                <c:pt idx="349">
                  <c:v>-0.163262017617266</c:v>
                </c:pt>
                <c:pt idx="350">
                  <c:v>-0.17724193477408398</c:v>
                </c:pt>
                <c:pt idx="351">
                  <c:v>-0.17841392498166597</c:v>
                </c:pt>
                <c:pt idx="352">
                  <c:v>-0.178551379343532</c:v>
                </c:pt>
                <c:pt idx="353">
                  <c:v>-0.164506052154786</c:v>
                </c:pt>
                <c:pt idx="354">
                  <c:v>-0.184784095000802</c:v>
                </c:pt>
                <c:pt idx="355">
                  <c:v>-0.184784095000802</c:v>
                </c:pt>
                <c:pt idx="356">
                  <c:v>-0.184784095000802</c:v>
                </c:pt>
                <c:pt idx="357">
                  <c:v>-0.189624541024423</c:v>
                </c:pt>
                <c:pt idx="358">
                  <c:v>-0.19788714455051298</c:v>
                </c:pt>
                <c:pt idx="359">
                  <c:v>-0.203576677058329</c:v>
                </c:pt>
                <c:pt idx="360">
                  <c:v>-0.219690764955789</c:v>
                </c:pt>
                <c:pt idx="361">
                  <c:v>-0.221331924425667</c:v>
                </c:pt>
                <c:pt idx="362">
                  <c:v>-0.221331924425667</c:v>
                </c:pt>
                <c:pt idx="363">
                  <c:v>-0.221331924425667</c:v>
                </c:pt>
                <c:pt idx="364">
                  <c:v>-0.228278552745207</c:v>
                </c:pt>
                <c:pt idx="365">
                  <c:v>-0.22952735568442</c:v>
                </c:pt>
                <c:pt idx="366">
                  <c:v>-0.220197459466196</c:v>
                </c:pt>
                <c:pt idx="367">
                  <c:v>-0.216921463841729</c:v>
                </c:pt>
                <c:pt idx="368">
                  <c:v>-0.20338055062344998</c:v>
                </c:pt>
                <c:pt idx="369">
                  <c:v>-0.20338055062344998</c:v>
                </c:pt>
                <c:pt idx="370">
                  <c:v>-0.20338055062344998</c:v>
                </c:pt>
                <c:pt idx="371">
                  <c:v>-0.19336638876218198</c:v>
                </c:pt>
                <c:pt idx="372">
                  <c:v>-0.222324373943392</c:v>
                </c:pt>
                <c:pt idx="373">
                  <c:v>-0.22224300013188</c:v>
                </c:pt>
                <c:pt idx="374">
                  <c:v>-0.235066890860698</c:v>
                </c:pt>
                <c:pt idx="375">
                  <c:v>-0.242947192964042</c:v>
                </c:pt>
                <c:pt idx="376">
                  <c:v>-0.242947192964042</c:v>
                </c:pt>
                <c:pt idx="377">
                  <c:v>-0.242947192964042</c:v>
                </c:pt>
                <c:pt idx="378">
                  <c:v>-0.23786967444752002</c:v>
                </c:pt>
                <c:pt idx="379">
                  <c:v>-0.245064985281476</c:v>
                </c:pt>
                <c:pt idx="380">
                  <c:v>-0.254192120766813</c:v>
                </c:pt>
                <c:pt idx="381">
                  <c:v>-0.266264677246156</c:v>
                </c:pt>
                <c:pt idx="382">
                  <c:v>-0.280549772111369</c:v>
                </c:pt>
                <c:pt idx="383">
                  <c:v>-0.280549772111369</c:v>
                </c:pt>
                <c:pt idx="384">
                  <c:v>-0.280549772111369</c:v>
                </c:pt>
                <c:pt idx="385">
                  <c:v>-0.283897501083054</c:v>
                </c:pt>
                <c:pt idx="386">
                  <c:v>-0.283911909949042</c:v>
                </c:pt>
                <c:pt idx="387">
                  <c:v>-0.276606822215224</c:v>
                </c:pt>
                <c:pt idx="388">
                  <c:v>-0.294850519773446</c:v>
                </c:pt>
                <c:pt idx="389">
                  <c:v>-0.299203448554341</c:v>
                </c:pt>
                <c:pt idx="390">
                  <c:v>-0.299203448554341</c:v>
                </c:pt>
                <c:pt idx="391">
                  <c:v>-0.299203448554341</c:v>
                </c:pt>
                <c:pt idx="392">
                  <c:v>-0.284368017937133</c:v>
                </c:pt>
                <c:pt idx="393">
                  <c:v>-0.263020090876323</c:v>
                </c:pt>
                <c:pt idx="394">
                  <c:v>-0.267111275868598</c:v>
                </c:pt>
                <c:pt idx="395">
                  <c:v>-0.27087437409216497</c:v>
                </c:pt>
                <c:pt idx="396">
                  <c:v>-0.292404951670024</c:v>
                </c:pt>
                <c:pt idx="397">
                  <c:v>-0.292404951670024</c:v>
                </c:pt>
                <c:pt idx="398">
                  <c:v>-0.292404951670024</c:v>
                </c:pt>
                <c:pt idx="399">
                  <c:v>-0.295954819409159</c:v>
                </c:pt>
                <c:pt idx="400">
                  <c:v>-0.304803314378134</c:v>
                </c:pt>
                <c:pt idx="401">
                  <c:v>-0.30808273081251203</c:v>
                </c:pt>
                <c:pt idx="402">
                  <c:v>-0.298629892759316</c:v>
                </c:pt>
                <c:pt idx="403">
                  <c:v>-0.308833339435642</c:v>
                </c:pt>
                <c:pt idx="404">
                  <c:v>-0.308833339435642</c:v>
                </c:pt>
                <c:pt idx="405">
                  <c:v>-0.308833339435642</c:v>
                </c:pt>
                <c:pt idx="406">
                  <c:v>-0.291659318770401</c:v>
                </c:pt>
                <c:pt idx="407">
                  <c:v>-0.286454608321745</c:v>
                </c:pt>
                <c:pt idx="408">
                  <c:v>-0.294199736603164</c:v>
                </c:pt>
                <c:pt idx="409">
                  <c:v>-0.297068966830979</c:v>
                </c:pt>
                <c:pt idx="410">
                  <c:v>-0.28305650014955697</c:v>
                </c:pt>
                <c:pt idx="411">
                  <c:v>-0.28305650014955697</c:v>
                </c:pt>
                <c:pt idx="412">
                  <c:v>-0.28305650014955697</c:v>
                </c:pt>
                <c:pt idx="413">
                  <c:v>-0.286090862201242</c:v>
                </c:pt>
                <c:pt idx="414">
                  <c:v>-0.27624711887007</c:v>
                </c:pt>
                <c:pt idx="415">
                  <c:v>-0.274222828690195</c:v>
                </c:pt>
                <c:pt idx="416">
                  <c:v>-0.281788934586288</c:v>
                </c:pt>
                <c:pt idx="417">
                  <c:v>-0.281308673607009</c:v>
                </c:pt>
                <c:pt idx="418">
                  <c:v>-0.281308673607009</c:v>
                </c:pt>
                <c:pt idx="419">
                  <c:v>-0.281308673607009</c:v>
                </c:pt>
                <c:pt idx="420">
                  <c:v>-0.287016761417068</c:v>
                </c:pt>
                <c:pt idx="421">
                  <c:v>-0.281562020862213</c:v>
                </c:pt>
                <c:pt idx="422">
                  <c:v>-0.294700315120095</c:v>
                </c:pt>
                <c:pt idx="423">
                  <c:v>-0.304228203669514</c:v>
                </c:pt>
                <c:pt idx="424">
                  <c:v>-0.28171087792378097</c:v>
                </c:pt>
                <c:pt idx="425">
                  <c:v>-0.28171087792378097</c:v>
                </c:pt>
                <c:pt idx="426">
                  <c:v>-0.28171087792378097</c:v>
                </c:pt>
                <c:pt idx="427">
                  <c:v>-0.269845021291768</c:v>
                </c:pt>
                <c:pt idx="428">
                  <c:v>-0.257615522200158</c:v>
                </c:pt>
                <c:pt idx="429">
                  <c:v>-0.271302597296439</c:v>
                </c:pt>
                <c:pt idx="430">
                  <c:v>-0.230223645992604</c:v>
                </c:pt>
                <c:pt idx="431">
                  <c:v>-0.212432013647126</c:v>
                </c:pt>
                <c:pt idx="432">
                  <c:v>-0.212432013647126</c:v>
                </c:pt>
                <c:pt idx="433">
                  <c:v>-0.212432013647126</c:v>
                </c:pt>
                <c:pt idx="434">
                  <c:v>-0.217940450551488</c:v>
                </c:pt>
                <c:pt idx="435">
                  <c:v>-0.20942024967303202</c:v>
                </c:pt>
                <c:pt idx="436">
                  <c:v>-0.222507853747692</c:v>
                </c:pt>
                <c:pt idx="437">
                  <c:v>-0.229764117194602</c:v>
                </c:pt>
                <c:pt idx="438">
                  <c:v>-0.23022416429713602</c:v>
                </c:pt>
                <c:pt idx="439">
                  <c:v>-0.23022416429713602</c:v>
                </c:pt>
                <c:pt idx="440">
                  <c:v>-0.23022416429713602</c:v>
                </c:pt>
                <c:pt idx="441">
                  <c:v>-0.237309905553044</c:v>
                </c:pt>
                <c:pt idx="442">
                  <c:v>-0.227968295652398</c:v>
                </c:pt>
                <c:pt idx="443">
                  <c:v>-0.223739137993726</c:v>
                </c:pt>
                <c:pt idx="444">
                  <c:v>-0.222085642875988</c:v>
                </c:pt>
                <c:pt idx="445">
                  <c:v>-0.227482126001455</c:v>
                </c:pt>
                <c:pt idx="446">
                  <c:v>-0.227482126001455</c:v>
                </c:pt>
                <c:pt idx="447">
                  <c:v>-0.227482126001455</c:v>
                </c:pt>
                <c:pt idx="448">
                  <c:v>-0.239569195007693</c:v>
                </c:pt>
                <c:pt idx="449">
                  <c:v>-0.23470677287191802</c:v>
                </c:pt>
                <c:pt idx="450">
                  <c:v>-0.212414909597572</c:v>
                </c:pt>
                <c:pt idx="451">
                  <c:v>-0.208148330351695</c:v>
                </c:pt>
                <c:pt idx="452">
                  <c:v>-0.206611764736359</c:v>
                </c:pt>
                <c:pt idx="453">
                  <c:v>-0.206611764736359</c:v>
                </c:pt>
                <c:pt idx="454">
                  <c:v>-0.206611764736359</c:v>
                </c:pt>
                <c:pt idx="455">
                  <c:v>-0.21087948425220598</c:v>
                </c:pt>
                <c:pt idx="456">
                  <c:v>-0.222297733090451</c:v>
                </c:pt>
                <c:pt idx="457">
                  <c:v>-0.227040945183883</c:v>
                </c:pt>
                <c:pt idx="458">
                  <c:v>-0.213670035852075</c:v>
                </c:pt>
                <c:pt idx="459">
                  <c:v>-0.212924713935171</c:v>
                </c:pt>
                <c:pt idx="460">
                  <c:v>-0.212924713935171</c:v>
                </c:pt>
                <c:pt idx="461">
                  <c:v>-0.212924713935171</c:v>
                </c:pt>
                <c:pt idx="462">
                  <c:v>-0.213563990744843</c:v>
                </c:pt>
                <c:pt idx="463">
                  <c:v>-0.205396236948095</c:v>
                </c:pt>
                <c:pt idx="464">
                  <c:v>-0.207266590681989</c:v>
                </c:pt>
                <c:pt idx="465">
                  <c:v>-0.228898444965386</c:v>
                </c:pt>
                <c:pt idx="466">
                  <c:v>-0.233008392581716</c:v>
                </c:pt>
                <c:pt idx="467">
                  <c:v>-0.233008392581716</c:v>
                </c:pt>
                <c:pt idx="468">
                  <c:v>-0.233008392581716</c:v>
                </c:pt>
                <c:pt idx="469">
                  <c:v>-0.236611127383107</c:v>
                </c:pt>
                <c:pt idx="470">
                  <c:v>-0.241228080492563</c:v>
                </c:pt>
                <c:pt idx="471">
                  <c:v>-0.23124076680604802</c:v>
                </c:pt>
                <c:pt idx="472">
                  <c:v>-0.23831220285687502</c:v>
                </c:pt>
                <c:pt idx="473">
                  <c:v>-0.23438065566043298</c:v>
                </c:pt>
                <c:pt idx="474">
                  <c:v>-0.23438065566043298</c:v>
                </c:pt>
                <c:pt idx="475">
                  <c:v>-0.23438065566043298</c:v>
                </c:pt>
                <c:pt idx="476">
                  <c:v>-0.234097143081472</c:v>
                </c:pt>
                <c:pt idx="477">
                  <c:v>-0.239974301829843</c:v>
                </c:pt>
                <c:pt idx="478">
                  <c:v>-0.24529345391914797</c:v>
                </c:pt>
                <c:pt idx="479">
                  <c:v>-0.23259706610518202</c:v>
                </c:pt>
                <c:pt idx="480">
                  <c:v>-0.235479668589921</c:v>
                </c:pt>
                <c:pt idx="481">
                  <c:v>-0.235479668589921</c:v>
                </c:pt>
                <c:pt idx="482">
                  <c:v>-0.235479668589921</c:v>
                </c:pt>
                <c:pt idx="483">
                  <c:v>-0.23296402571378302</c:v>
                </c:pt>
                <c:pt idx="484">
                  <c:v>-0.23503558526697</c:v>
                </c:pt>
                <c:pt idx="485">
                  <c:v>-0.224256094933866</c:v>
                </c:pt>
                <c:pt idx="486">
                  <c:v>-0.22777424243564698</c:v>
                </c:pt>
                <c:pt idx="487">
                  <c:v>-0.212070859049282</c:v>
                </c:pt>
                <c:pt idx="488">
                  <c:v>-0.212070859049282</c:v>
                </c:pt>
                <c:pt idx="489">
                  <c:v>-0.212070859049282</c:v>
                </c:pt>
                <c:pt idx="490">
                  <c:v>-0.201338016124051</c:v>
                </c:pt>
                <c:pt idx="491">
                  <c:v>-0.197644992673199</c:v>
                </c:pt>
                <c:pt idx="492">
                  <c:v>-0.187322024971812</c:v>
                </c:pt>
                <c:pt idx="493">
                  <c:v>-0.180113341880932</c:v>
                </c:pt>
                <c:pt idx="494">
                  <c:v>-0.17761853484697798</c:v>
                </c:pt>
                <c:pt idx="495">
                  <c:v>-0.17761853484697798</c:v>
                </c:pt>
                <c:pt idx="496">
                  <c:v>-0.17761853484697798</c:v>
                </c:pt>
                <c:pt idx="497">
                  <c:v>-0.181772952992147</c:v>
                </c:pt>
                <c:pt idx="498">
                  <c:v>-0.18085068190804499</c:v>
                </c:pt>
                <c:pt idx="499">
                  <c:v>-0.18383093296659697</c:v>
                </c:pt>
                <c:pt idx="500">
                  <c:v>-0.187402776817886</c:v>
                </c:pt>
                <c:pt idx="501">
                  <c:v>-0.174090124915465</c:v>
                </c:pt>
                <c:pt idx="502">
                  <c:v>-0.174090124915465</c:v>
                </c:pt>
                <c:pt idx="503">
                  <c:v>-0.174090124915465</c:v>
                </c:pt>
                <c:pt idx="504">
                  <c:v>-0.16005547480007698</c:v>
                </c:pt>
                <c:pt idx="505">
                  <c:v>-0.160649866437285</c:v>
                </c:pt>
                <c:pt idx="506">
                  <c:v>-0.163850915226436</c:v>
                </c:pt>
                <c:pt idx="507">
                  <c:v>-0.15304716824123799</c:v>
                </c:pt>
                <c:pt idx="508">
                  <c:v>-0.14720660179282</c:v>
                </c:pt>
                <c:pt idx="509">
                  <c:v>-0.14720660179282</c:v>
                </c:pt>
                <c:pt idx="510">
                  <c:v>-0.14720660179282</c:v>
                </c:pt>
                <c:pt idx="511">
                  <c:v>-0.159798188430431</c:v>
                </c:pt>
                <c:pt idx="512">
                  <c:v>-0.153938237392519</c:v>
                </c:pt>
                <c:pt idx="513">
                  <c:v>-0.139378959429919</c:v>
                </c:pt>
                <c:pt idx="514">
                  <c:v>-0.123896892078685</c:v>
                </c:pt>
                <c:pt idx="515">
                  <c:v>-0.13546959566744302</c:v>
                </c:pt>
                <c:pt idx="516">
                  <c:v>-0.13546959566744302</c:v>
                </c:pt>
                <c:pt idx="517">
                  <c:v>-0.13546959566744302</c:v>
                </c:pt>
                <c:pt idx="518">
                  <c:v>-0.149726080122494</c:v>
                </c:pt>
                <c:pt idx="519">
                  <c:v>-0.14029915729589398</c:v>
                </c:pt>
                <c:pt idx="520">
                  <c:v>-0.152016675170871</c:v>
                </c:pt>
                <c:pt idx="521">
                  <c:v>-0.150876301539736</c:v>
                </c:pt>
                <c:pt idx="522">
                  <c:v>-0.16083707803421599</c:v>
                </c:pt>
                <c:pt idx="523">
                  <c:v>-0.16083707803421599</c:v>
                </c:pt>
                <c:pt idx="524">
                  <c:v>-0.16083707803421599</c:v>
                </c:pt>
                <c:pt idx="525">
                  <c:v>-0.153344467720749</c:v>
                </c:pt>
                <c:pt idx="526">
                  <c:v>-0.147536450796936</c:v>
                </c:pt>
                <c:pt idx="527">
                  <c:v>-0.148110110252867</c:v>
                </c:pt>
                <c:pt idx="528">
                  <c:v>-0.155230370590601</c:v>
                </c:pt>
                <c:pt idx="529">
                  <c:v>-0.16506457711838501</c:v>
                </c:pt>
                <c:pt idx="530">
                  <c:v>-0.16506457711838501</c:v>
                </c:pt>
                <c:pt idx="531">
                  <c:v>-0.16506457711838501</c:v>
                </c:pt>
                <c:pt idx="532">
                  <c:v>-0.16228895268903598</c:v>
                </c:pt>
                <c:pt idx="533">
                  <c:v>-0.176817339701533</c:v>
                </c:pt>
                <c:pt idx="534">
                  <c:v>-0.18172786049787</c:v>
                </c:pt>
                <c:pt idx="535">
                  <c:v>-0.17071772464805998</c:v>
                </c:pt>
                <c:pt idx="536">
                  <c:v>-0.18763819073628502</c:v>
                </c:pt>
                <c:pt idx="537">
                  <c:v>-0.18763819073628502</c:v>
                </c:pt>
                <c:pt idx="538">
                  <c:v>-0.18763819073628502</c:v>
                </c:pt>
                <c:pt idx="539">
                  <c:v>-0.18147492788629202</c:v>
                </c:pt>
                <c:pt idx="540">
                  <c:v>-0.180440599362388</c:v>
                </c:pt>
                <c:pt idx="541">
                  <c:v>-0.174873075741387</c:v>
                </c:pt>
                <c:pt idx="542">
                  <c:v>-0.177118889278205</c:v>
                </c:pt>
                <c:pt idx="543">
                  <c:v>-0.15983840886210798</c:v>
                </c:pt>
                <c:pt idx="544">
                  <c:v>-0.15983840886210798</c:v>
                </c:pt>
                <c:pt idx="545">
                  <c:v>-0.15983840886210798</c:v>
                </c:pt>
                <c:pt idx="546">
                  <c:v>-0.16150683115036502</c:v>
                </c:pt>
                <c:pt idx="547">
                  <c:v>-0.17662245719753</c:v>
                </c:pt>
                <c:pt idx="548">
                  <c:v>-0.174189121081062</c:v>
                </c:pt>
                <c:pt idx="549">
                  <c:v>-0.19039163173166798</c:v>
                </c:pt>
                <c:pt idx="550">
                  <c:v>-0.203316488183304</c:v>
                </c:pt>
                <c:pt idx="551">
                  <c:v>-0.203316488183304</c:v>
                </c:pt>
                <c:pt idx="552">
                  <c:v>-0.203316488183304</c:v>
                </c:pt>
                <c:pt idx="553">
                  <c:v>-0.20236736892444798</c:v>
                </c:pt>
                <c:pt idx="554">
                  <c:v>-0.18933315021657598</c:v>
                </c:pt>
                <c:pt idx="555">
                  <c:v>-0.204067718771872</c:v>
                </c:pt>
                <c:pt idx="556">
                  <c:v>-0.194122595074256</c:v>
                </c:pt>
                <c:pt idx="557">
                  <c:v>-0.19928117641957102</c:v>
                </c:pt>
                <c:pt idx="558">
                  <c:v>-0.19928117641957102</c:v>
                </c:pt>
                <c:pt idx="559">
                  <c:v>-0.19928117641957102</c:v>
                </c:pt>
                <c:pt idx="560">
                  <c:v>-0.194445913441269</c:v>
                </c:pt>
                <c:pt idx="561">
                  <c:v>-0.17923678525654602</c:v>
                </c:pt>
                <c:pt idx="562">
                  <c:v>-0.184231997013399</c:v>
                </c:pt>
                <c:pt idx="563">
                  <c:v>-0.17619506328050702</c:v>
                </c:pt>
                <c:pt idx="564">
                  <c:v>-0.18064750653153103</c:v>
                </c:pt>
                <c:pt idx="565">
                  <c:v>-0.18064750653153103</c:v>
                </c:pt>
                <c:pt idx="566">
                  <c:v>-0.18064750653153103</c:v>
                </c:pt>
                <c:pt idx="567">
                  <c:v>-0.182458047922442</c:v>
                </c:pt>
                <c:pt idx="568">
                  <c:v>-0.180105463652047</c:v>
                </c:pt>
                <c:pt idx="569">
                  <c:v>-0.16988397997800997</c:v>
                </c:pt>
                <c:pt idx="570">
                  <c:v>-0.160913890765846</c:v>
                </c:pt>
                <c:pt idx="571">
                  <c:v>-0.154232634366651</c:v>
                </c:pt>
                <c:pt idx="572">
                  <c:v>-0.154232634366651</c:v>
                </c:pt>
                <c:pt idx="573">
                  <c:v>-0.154232634366651</c:v>
                </c:pt>
                <c:pt idx="574">
                  <c:v>-0.151992833162402</c:v>
                </c:pt>
                <c:pt idx="575">
                  <c:v>-0.160030803504357</c:v>
                </c:pt>
                <c:pt idx="576">
                  <c:v>-0.17131180530254897</c:v>
                </c:pt>
                <c:pt idx="577">
                  <c:v>-0.170282245180339</c:v>
                </c:pt>
                <c:pt idx="578">
                  <c:v>-0.170456810146691</c:v>
                </c:pt>
                <c:pt idx="579">
                  <c:v>-0.170456810146691</c:v>
                </c:pt>
                <c:pt idx="580">
                  <c:v>-0.170456810146691</c:v>
                </c:pt>
                <c:pt idx="581">
                  <c:v>-0.169415329020246</c:v>
                </c:pt>
                <c:pt idx="582">
                  <c:v>-0.163766949892265</c:v>
                </c:pt>
                <c:pt idx="583">
                  <c:v>-0.169125700447808</c:v>
                </c:pt>
                <c:pt idx="584">
                  <c:v>-0.155969783835841</c:v>
                </c:pt>
                <c:pt idx="585">
                  <c:v>-0.149721104398987</c:v>
                </c:pt>
                <c:pt idx="586">
                  <c:v>-0.149721104398987</c:v>
                </c:pt>
                <c:pt idx="587">
                  <c:v>-0.149721104398987</c:v>
                </c:pt>
                <c:pt idx="588">
                  <c:v>-0.147710393797849</c:v>
                </c:pt>
                <c:pt idx="589">
                  <c:v>-0.145946707136624</c:v>
                </c:pt>
                <c:pt idx="590">
                  <c:v>-0.152673159691003</c:v>
                </c:pt>
                <c:pt idx="591">
                  <c:v>-0.159666435418416</c:v>
                </c:pt>
                <c:pt idx="592">
                  <c:v>-0.170076063637541</c:v>
                </c:pt>
                <c:pt idx="593">
                  <c:v>-0.170076063637541</c:v>
                </c:pt>
                <c:pt idx="594">
                  <c:v>-0.170076063637541</c:v>
                </c:pt>
                <c:pt idx="595">
                  <c:v>-0.168288638628754</c:v>
                </c:pt>
                <c:pt idx="596">
                  <c:v>-0.184825352041543</c:v>
                </c:pt>
                <c:pt idx="597">
                  <c:v>-0.18139148085665202</c:v>
                </c:pt>
                <c:pt idx="598">
                  <c:v>-0.16616618157053298</c:v>
                </c:pt>
                <c:pt idx="599">
                  <c:v>-0.163028365934276</c:v>
                </c:pt>
                <c:pt idx="600">
                  <c:v>-0.163028365934276</c:v>
                </c:pt>
                <c:pt idx="601">
                  <c:v>-0.163028365934276</c:v>
                </c:pt>
                <c:pt idx="602">
                  <c:v>-0.16106305881013402</c:v>
                </c:pt>
                <c:pt idx="603">
                  <c:v>-0.169638925595318</c:v>
                </c:pt>
                <c:pt idx="604">
                  <c:v>-0.17164414216841797</c:v>
                </c:pt>
                <c:pt idx="605">
                  <c:v>-0.17559662886795</c:v>
                </c:pt>
                <c:pt idx="606">
                  <c:v>-0.161185378679667</c:v>
                </c:pt>
                <c:pt idx="607">
                  <c:v>-0.161185378679667</c:v>
                </c:pt>
                <c:pt idx="608">
                  <c:v>-0.161185378679667</c:v>
                </c:pt>
                <c:pt idx="609">
                  <c:v>-0.155718509798765</c:v>
                </c:pt>
                <c:pt idx="610">
                  <c:v>-0.160983343573124</c:v>
                </c:pt>
                <c:pt idx="611">
                  <c:v>-0.158744475317033</c:v>
                </c:pt>
                <c:pt idx="612">
                  <c:v>-0.161424213407977</c:v>
                </c:pt>
                <c:pt idx="613">
                  <c:v>-0.16177365432339902</c:v>
                </c:pt>
                <c:pt idx="614">
                  <c:v>-0.16177365432339902</c:v>
                </c:pt>
                <c:pt idx="615">
                  <c:v>-0.16177365432339902</c:v>
                </c:pt>
                <c:pt idx="616">
                  <c:v>-0.153001142798804</c:v>
                </c:pt>
                <c:pt idx="617">
                  <c:v>-0.155664709788352</c:v>
                </c:pt>
                <c:pt idx="618">
                  <c:v>-0.14983730827504402</c:v>
                </c:pt>
                <c:pt idx="619">
                  <c:v>-0.142056416980923</c:v>
                </c:pt>
                <c:pt idx="620">
                  <c:v>-0.145679469319965</c:v>
                </c:pt>
                <c:pt idx="621">
                  <c:v>-0.145679469319965</c:v>
                </c:pt>
                <c:pt idx="622">
                  <c:v>-0.145679469319965</c:v>
                </c:pt>
                <c:pt idx="623">
                  <c:v>-0.145925249329002</c:v>
                </c:pt>
                <c:pt idx="624">
                  <c:v>-0.154988944339631</c:v>
                </c:pt>
                <c:pt idx="625">
                  <c:v>-0.162555568540257</c:v>
                </c:pt>
                <c:pt idx="626">
                  <c:v>-0.144994789033296</c:v>
                </c:pt>
                <c:pt idx="627">
                  <c:v>-0.134095881336037</c:v>
                </c:pt>
                <c:pt idx="628">
                  <c:v>-0.134095881336037</c:v>
                </c:pt>
                <c:pt idx="629">
                  <c:v>-0.134095881336037</c:v>
                </c:pt>
                <c:pt idx="630">
                  <c:v>-0.135467833432035</c:v>
                </c:pt>
                <c:pt idx="631">
                  <c:v>-0.134442212424267</c:v>
                </c:pt>
                <c:pt idx="632">
                  <c:v>-0.147965503288461</c:v>
                </c:pt>
                <c:pt idx="633">
                  <c:v>-0.133327028393383</c:v>
                </c:pt>
                <c:pt idx="634">
                  <c:v>-0.121528758672333</c:v>
                </c:pt>
                <c:pt idx="635">
                  <c:v>-0.121528758672333</c:v>
                </c:pt>
                <c:pt idx="636">
                  <c:v>-0.121528758672333</c:v>
                </c:pt>
                <c:pt idx="637">
                  <c:v>-0.122616990867557</c:v>
                </c:pt>
                <c:pt idx="638">
                  <c:v>-0.122545257520339</c:v>
                </c:pt>
                <c:pt idx="639">
                  <c:v>-0.125971250476344</c:v>
                </c:pt>
                <c:pt idx="640">
                  <c:v>-0.117093730453582</c:v>
                </c:pt>
                <c:pt idx="641">
                  <c:v>-0.11699794777608201</c:v>
                </c:pt>
                <c:pt idx="642">
                  <c:v>-0.11699794777608201</c:v>
                </c:pt>
                <c:pt idx="643">
                  <c:v>-0.11699794777608201</c:v>
                </c:pt>
                <c:pt idx="644">
                  <c:v>-0.109891059695272</c:v>
                </c:pt>
                <c:pt idx="645">
                  <c:v>-0.0966003839050051</c:v>
                </c:pt>
                <c:pt idx="646">
                  <c:v>-0.09243072760659769</c:v>
                </c:pt>
                <c:pt idx="647">
                  <c:v>-0.08230461196643461</c:v>
                </c:pt>
                <c:pt idx="648">
                  <c:v>-0.0818402111058324</c:v>
                </c:pt>
                <c:pt idx="649">
                  <c:v>-0.0818402111058324</c:v>
                </c:pt>
                <c:pt idx="650">
                  <c:v>-0.0818402111058324</c:v>
                </c:pt>
                <c:pt idx="651">
                  <c:v>-0.085529710085867</c:v>
                </c:pt>
                <c:pt idx="652">
                  <c:v>-0.0879536130598542</c:v>
                </c:pt>
                <c:pt idx="653">
                  <c:v>-0.09390043193731619</c:v>
                </c:pt>
                <c:pt idx="654">
                  <c:v>-0.0940578928541141</c:v>
                </c:pt>
                <c:pt idx="655">
                  <c:v>-0.102371393885239</c:v>
                </c:pt>
                <c:pt idx="656">
                  <c:v>-0.102371393885239</c:v>
                </c:pt>
                <c:pt idx="657">
                  <c:v>-0.102371393885239</c:v>
                </c:pt>
                <c:pt idx="658">
                  <c:v>-0.10928215553117</c:v>
                </c:pt>
                <c:pt idx="659">
                  <c:v>-0.100558675615295</c:v>
                </c:pt>
                <c:pt idx="660">
                  <c:v>-0.10761673940919801</c:v>
                </c:pt>
                <c:pt idx="661">
                  <c:v>-0.107688265434603</c:v>
                </c:pt>
                <c:pt idx="662">
                  <c:v>-0.09366854248973419</c:v>
                </c:pt>
                <c:pt idx="663">
                  <c:v>-0.09366854248973419</c:v>
                </c:pt>
                <c:pt idx="664">
                  <c:v>-0.09366854248973419</c:v>
                </c:pt>
                <c:pt idx="665">
                  <c:v>-0.0858916939709615</c:v>
                </c:pt>
                <c:pt idx="666">
                  <c:v>-0.08542418328316771</c:v>
                </c:pt>
                <c:pt idx="667">
                  <c:v>-0.0902152867153497</c:v>
                </c:pt>
                <c:pt idx="668">
                  <c:v>-0.10083835274071999</c:v>
                </c:pt>
                <c:pt idx="669">
                  <c:v>-0.0957919324961129</c:v>
                </c:pt>
                <c:pt idx="670">
                  <c:v>-0.0957919324961129</c:v>
                </c:pt>
                <c:pt idx="671">
                  <c:v>-0.0957919324961129</c:v>
                </c:pt>
                <c:pt idx="672">
                  <c:v>-0.09139069773284281</c:v>
                </c:pt>
                <c:pt idx="673">
                  <c:v>-0.08128085685498201</c:v>
                </c:pt>
                <c:pt idx="674">
                  <c:v>-0.0643186154214848</c:v>
                </c:pt>
                <c:pt idx="675">
                  <c:v>-0.0484082212050704</c:v>
                </c:pt>
                <c:pt idx="676">
                  <c:v>-0.052810077933778905</c:v>
                </c:pt>
                <c:pt idx="677">
                  <c:v>-0.052810077933778905</c:v>
                </c:pt>
                <c:pt idx="678">
                  <c:v>-0.052810077933778905</c:v>
                </c:pt>
                <c:pt idx="679">
                  <c:v>-0.049836668495047906</c:v>
                </c:pt>
                <c:pt idx="680">
                  <c:v>-0.046822105676482303</c:v>
                </c:pt>
                <c:pt idx="681">
                  <c:v>-0.0474812853801809</c:v>
                </c:pt>
                <c:pt idx="682">
                  <c:v>-0.06438433643613249</c:v>
                </c:pt>
                <c:pt idx="683">
                  <c:v>-0.07047358539896681</c:v>
                </c:pt>
                <c:pt idx="684">
                  <c:v>-0.07047358539896681</c:v>
                </c:pt>
                <c:pt idx="685">
                  <c:v>-0.07047358539896681</c:v>
                </c:pt>
                <c:pt idx="686">
                  <c:v>-0.0721167144260664</c:v>
                </c:pt>
                <c:pt idx="687">
                  <c:v>-0.062198438903204</c:v>
                </c:pt>
                <c:pt idx="688">
                  <c:v>-0.064614463648306</c:v>
                </c:pt>
                <c:pt idx="689">
                  <c:v>-0.0640305417626425</c:v>
                </c:pt>
                <c:pt idx="690">
                  <c:v>-0.0544207610971802</c:v>
                </c:pt>
                <c:pt idx="691">
                  <c:v>-0.0544207610971802</c:v>
                </c:pt>
                <c:pt idx="692">
                  <c:v>-0.0544207610971802</c:v>
                </c:pt>
                <c:pt idx="693">
                  <c:v>-0.051476169390424105</c:v>
                </c:pt>
                <c:pt idx="694">
                  <c:v>-0.056346988059615695</c:v>
                </c:pt>
                <c:pt idx="695">
                  <c:v>-0.0767800039606764</c:v>
                </c:pt>
                <c:pt idx="696">
                  <c:v>-0.0791607839976076</c:v>
                </c:pt>
                <c:pt idx="697">
                  <c:v>-0.0802195764954182</c:v>
                </c:pt>
                <c:pt idx="698">
                  <c:v>-0.0802195764954182</c:v>
                </c:pt>
                <c:pt idx="699">
                  <c:v>-0.0802195764954182</c:v>
                </c:pt>
                <c:pt idx="700">
                  <c:v>-0.0770034968748412</c:v>
                </c:pt>
                <c:pt idx="701">
                  <c:v>-0.0885033268464108</c:v>
                </c:pt>
                <c:pt idx="702">
                  <c:v>-0.0948672772111638</c:v>
                </c:pt>
                <c:pt idx="703">
                  <c:v>-0.09688037201314939</c:v>
                </c:pt>
                <c:pt idx="704">
                  <c:v>-0.1046065303487</c:v>
                </c:pt>
                <c:pt idx="705">
                  <c:v>-0.1046065303487</c:v>
                </c:pt>
                <c:pt idx="706">
                  <c:v>-0.1046065303487</c:v>
                </c:pt>
                <c:pt idx="707">
                  <c:v>-0.099622306647924</c:v>
                </c:pt>
                <c:pt idx="708">
                  <c:v>-0.11357496098636201</c:v>
                </c:pt>
                <c:pt idx="709">
                  <c:v>-0.12238955883894899</c:v>
                </c:pt>
                <c:pt idx="710">
                  <c:v>-0.127299146687129</c:v>
                </c:pt>
                <c:pt idx="711">
                  <c:v>-0.130611319967924</c:v>
                </c:pt>
                <c:pt idx="712">
                  <c:v>-0.130611319967924</c:v>
                </c:pt>
                <c:pt idx="713">
                  <c:v>-0.130611319967924</c:v>
                </c:pt>
                <c:pt idx="714">
                  <c:v>-0.118783403227648</c:v>
                </c:pt>
                <c:pt idx="715">
                  <c:v>-0.12141359140534</c:v>
                </c:pt>
                <c:pt idx="716">
                  <c:v>-0.109000819831243</c:v>
                </c:pt>
                <c:pt idx="717">
                  <c:v>-0.11618400233915199</c:v>
                </c:pt>
                <c:pt idx="718">
                  <c:v>-0.11514407612630301</c:v>
                </c:pt>
                <c:pt idx="719">
                  <c:v>-0.11514407612630301</c:v>
                </c:pt>
                <c:pt idx="720">
                  <c:v>-0.11514407612630301</c:v>
                </c:pt>
                <c:pt idx="721">
                  <c:v>-0.106911534263064</c:v>
                </c:pt>
                <c:pt idx="722">
                  <c:v>-0.09012914450214421</c:v>
                </c:pt>
                <c:pt idx="723">
                  <c:v>-0.08871002669374141</c:v>
                </c:pt>
                <c:pt idx="724">
                  <c:v>-0.091900398409535</c:v>
                </c:pt>
                <c:pt idx="725">
                  <c:v>-0.0921761364205176</c:v>
                </c:pt>
                <c:pt idx="726">
                  <c:v>-0.0921761364205176</c:v>
                </c:pt>
                <c:pt idx="727">
                  <c:v>-0.0921761364205176</c:v>
                </c:pt>
                <c:pt idx="728">
                  <c:v>-0.0904663534306128</c:v>
                </c:pt>
                <c:pt idx="729">
                  <c:v>-0.096566383127711</c:v>
                </c:pt>
                <c:pt idx="730">
                  <c:v>-0.10456983438784001</c:v>
                </c:pt>
                <c:pt idx="731">
                  <c:v>-0.115184814862512</c:v>
                </c:pt>
                <c:pt idx="732">
                  <c:v>-0.11935457482182599</c:v>
                </c:pt>
                <c:pt idx="733">
                  <c:v>-0.11935457482182599</c:v>
                </c:pt>
                <c:pt idx="734">
                  <c:v>-0.11935457482182599</c:v>
                </c:pt>
                <c:pt idx="735">
                  <c:v>-0.109688402623291</c:v>
                </c:pt>
                <c:pt idx="736">
                  <c:v>-0.117376310084385</c:v>
                </c:pt>
                <c:pt idx="737">
                  <c:v>-0.114868545437133</c:v>
                </c:pt>
                <c:pt idx="738">
                  <c:v>-0.107042665309641</c:v>
                </c:pt>
                <c:pt idx="739">
                  <c:v>-0.11810660116986399</c:v>
                </c:pt>
                <c:pt idx="740">
                  <c:v>-0.11810660116986399</c:v>
                </c:pt>
                <c:pt idx="741">
                  <c:v>-0.11810660116986399</c:v>
                </c:pt>
                <c:pt idx="742">
                  <c:v>-0.11664052497086899</c:v>
                </c:pt>
                <c:pt idx="743">
                  <c:v>-0.12032328599198801</c:v>
                </c:pt>
                <c:pt idx="744">
                  <c:v>-0.127211967864859</c:v>
                </c:pt>
                <c:pt idx="745">
                  <c:v>-0.14037897619381</c:v>
                </c:pt>
                <c:pt idx="746">
                  <c:v>-0.139616550227352</c:v>
                </c:pt>
                <c:pt idx="747">
                  <c:v>-0.139616550227352</c:v>
                </c:pt>
                <c:pt idx="748">
                  <c:v>-0.139616550227352</c:v>
                </c:pt>
                <c:pt idx="749">
                  <c:v>-0.14279945835788602</c:v>
                </c:pt>
                <c:pt idx="750">
                  <c:v>-0.153619272783574</c:v>
                </c:pt>
                <c:pt idx="751">
                  <c:v>-0.154182877131586</c:v>
                </c:pt>
                <c:pt idx="752">
                  <c:v>-0.144920153180699</c:v>
                </c:pt>
                <c:pt idx="753">
                  <c:v>-0.139671179525017</c:v>
                </c:pt>
                <c:pt idx="754">
                  <c:v>-0.139671179525017</c:v>
                </c:pt>
                <c:pt idx="755">
                  <c:v>-0.139671179525017</c:v>
                </c:pt>
                <c:pt idx="756">
                  <c:v>-0.14537771242148</c:v>
                </c:pt>
                <c:pt idx="757">
                  <c:v>-0.160285083707718</c:v>
                </c:pt>
                <c:pt idx="758">
                  <c:v>-0.156897237965262</c:v>
                </c:pt>
                <c:pt idx="759">
                  <c:v>-0.157013960145851</c:v>
                </c:pt>
                <c:pt idx="760">
                  <c:v>-0.142131882120771</c:v>
                </c:pt>
                <c:pt idx="761">
                  <c:v>-0.142131882120771</c:v>
                </c:pt>
                <c:pt idx="762">
                  <c:v>-0.142131882120771</c:v>
                </c:pt>
                <c:pt idx="763">
                  <c:v>-0.142076319874948</c:v>
                </c:pt>
                <c:pt idx="764">
                  <c:v>-0.130846111920885</c:v>
                </c:pt>
                <c:pt idx="765">
                  <c:v>-0.124878249879427</c:v>
                </c:pt>
                <c:pt idx="766">
                  <c:v>-0.127106959366692</c:v>
                </c:pt>
                <c:pt idx="767">
                  <c:v>-0.138922955102734</c:v>
                </c:pt>
                <c:pt idx="768">
                  <c:v>-0.138922955102734</c:v>
                </c:pt>
                <c:pt idx="769">
                  <c:v>-0.138922955102734</c:v>
                </c:pt>
                <c:pt idx="770">
                  <c:v>-0.133144896180866</c:v>
                </c:pt>
                <c:pt idx="771">
                  <c:v>-0.133632724406311</c:v>
                </c:pt>
                <c:pt idx="772">
                  <c:v>-0.152125726444387</c:v>
                </c:pt>
                <c:pt idx="773">
                  <c:v>-0.159692765288638</c:v>
                </c:pt>
                <c:pt idx="774">
                  <c:v>-0.170655942747855</c:v>
                </c:pt>
                <c:pt idx="775">
                  <c:v>-0.170655942747855</c:v>
                </c:pt>
                <c:pt idx="776">
                  <c:v>-0.170655942747855</c:v>
                </c:pt>
                <c:pt idx="777">
                  <c:v>-0.16878973545021603</c:v>
                </c:pt>
                <c:pt idx="778">
                  <c:v>-0.163902331036003</c:v>
                </c:pt>
                <c:pt idx="779">
                  <c:v>-0.179829103675626</c:v>
                </c:pt>
                <c:pt idx="780">
                  <c:v>-0.187334775263297</c:v>
                </c:pt>
                <c:pt idx="781">
                  <c:v>-0.189610650462968</c:v>
                </c:pt>
                <c:pt idx="782">
                  <c:v>-0.189610650462968</c:v>
                </c:pt>
                <c:pt idx="783">
                  <c:v>-0.189610650462968</c:v>
                </c:pt>
                <c:pt idx="784">
                  <c:v>-0.191049878487209</c:v>
                </c:pt>
                <c:pt idx="785">
                  <c:v>-0.193077796798808</c:v>
                </c:pt>
                <c:pt idx="786">
                  <c:v>-0.1860407761689</c:v>
                </c:pt>
                <c:pt idx="787">
                  <c:v>-0.171565670862285</c:v>
                </c:pt>
                <c:pt idx="788">
                  <c:v>-0.16159525390351098</c:v>
                </c:pt>
                <c:pt idx="789">
                  <c:v>-0.16159525390351098</c:v>
                </c:pt>
                <c:pt idx="790">
                  <c:v>-0.16159525390351098</c:v>
                </c:pt>
                <c:pt idx="791">
                  <c:v>-0.15834030144304</c:v>
                </c:pt>
                <c:pt idx="792">
                  <c:v>-0.15714840834143198</c:v>
                </c:pt>
                <c:pt idx="793">
                  <c:v>-0.154278763469992</c:v>
                </c:pt>
                <c:pt idx="794">
                  <c:v>-0.152010559177394</c:v>
                </c:pt>
                <c:pt idx="795">
                  <c:v>-0.144533290678072</c:v>
                </c:pt>
                <c:pt idx="796">
                  <c:v>-0.144533290678072</c:v>
                </c:pt>
                <c:pt idx="797">
                  <c:v>-0.144533290678072</c:v>
                </c:pt>
                <c:pt idx="798">
                  <c:v>-0.144499704544404</c:v>
                </c:pt>
                <c:pt idx="799">
                  <c:v>-0.126260671726969</c:v>
                </c:pt>
                <c:pt idx="800">
                  <c:v>-0.124491491037706</c:v>
                </c:pt>
                <c:pt idx="801">
                  <c:v>-0.126241909102914</c:v>
                </c:pt>
                <c:pt idx="802">
                  <c:v>-0.12146044613502599</c:v>
                </c:pt>
                <c:pt idx="803">
                  <c:v>-0.12146044613502599</c:v>
                </c:pt>
                <c:pt idx="804">
                  <c:v>-0.12146044613502599</c:v>
                </c:pt>
                <c:pt idx="805">
                  <c:v>-0.11268648335774101</c:v>
                </c:pt>
                <c:pt idx="806">
                  <c:v>-0.12004796262463101</c:v>
                </c:pt>
                <c:pt idx="807">
                  <c:v>-0.122003007319042</c:v>
                </c:pt>
                <c:pt idx="808">
                  <c:v>-0.12026513222350699</c:v>
                </c:pt>
                <c:pt idx="809">
                  <c:v>-0.12276076854471199</c:v>
                </c:pt>
                <c:pt idx="810">
                  <c:v>-0.12276076854471199</c:v>
                </c:pt>
                <c:pt idx="811">
                  <c:v>-0.12276076854471199</c:v>
                </c:pt>
                <c:pt idx="812">
                  <c:v>-0.124172630089668</c:v>
                </c:pt>
                <c:pt idx="813">
                  <c:v>-0.121827820387252</c:v>
                </c:pt>
                <c:pt idx="814">
                  <c:v>-0.121205543966226</c:v>
                </c:pt>
                <c:pt idx="815">
                  <c:v>-0.123086782095291</c:v>
                </c:pt>
                <c:pt idx="816">
                  <c:v>-0.12178832558191999</c:v>
                </c:pt>
                <c:pt idx="817">
                  <c:v>-0.12178832558191999</c:v>
                </c:pt>
                <c:pt idx="818">
                  <c:v>-0.12178832558191999</c:v>
                </c:pt>
                <c:pt idx="819">
                  <c:v>-0.132613426713833</c:v>
                </c:pt>
                <c:pt idx="820">
                  <c:v>-0.133700829621806</c:v>
                </c:pt>
                <c:pt idx="821">
                  <c:v>-0.13603019384917</c:v>
                </c:pt>
                <c:pt idx="822">
                  <c:v>-0.128976483813335</c:v>
                </c:pt>
                <c:pt idx="823">
                  <c:v>-0.12336189814083501</c:v>
                </c:pt>
                <c:pt idx="824">
                  <c:v>-0.12336189814083501</c:v>
                </c:pt>
                <c:pt idx="825">
                  <c:v>-0.12336189814083501</c:v>
                </c:pt>
                <c:pt idx="826">
                  <c:v>-0.127569597991886</c:v>
                </c:pt>
                <c:pt idx="827">
                  <c:v>-0.12087382906579601</c:v>
                </c:pt>
                <c:pt idx="828">
                  <c:v>-0.110718688371845</c:v>
                </c:pt>
                <c:pt idx="829">
                  <c:v>-0.1041242998122</c:v>
                </c:pt>
                <c:pt idx="830">
                  <c:v>-0.10170537256171899</c:v>
                </c:pt>
                <c:pt idx="831">
                  <c:v>-0.10170537256171899</c:v>
                </c:pt>
                <c:pt idx="832">
                  <c:v>-0.10170537256171899</c:v>
                </c:pt>
                <c:pt idx="833">
                  <c:v>-0.0965216016161529</c:v>
                </c:pt>
                <c:pt idx="834">
                  <c:v>-0.0901016743619524</c:v>
                </c:pt>
                <c:pt idx="835">
                  <c:v>-0.09854143437705361</c:v>
                </c:pt>
                <c:pt idx="836">
                  <c:v>-0.08970506773412551</c:v>
                </c:pt>
                <c:pt idx="837">
                  <c:v>-0.0914340279917114</c:v>
                </c:pt>
                <c:pt idx="838">
                  <c:v>-0.0914340279917114</c:v>
                </c:pt>
                <c:pt idx="839">
                  <c:v>-0.0914340279917114</c:v>
                </c:pt>
                <c:pt idx="840">
                  <c:v>-0.0913718314478808</c:v>
                </c:pt>
                <c:pt idx="841">
                  <c:v>-0.0886558120397023</c:v>
                </c:pt>
                <c:pt idx="842">
                  <c:v>-0.0825740266621278</c:v>
                </c:pt>
                <c:pt idx="843">
                  <c:v>-0.0796235262837077</c:v>
                </c:pt>
                <c:pt idx="844">
                  <c:v>-0.0841240681952942</c:v>
                </c:pt>
                <c:pt idx="845">
                  <c:v>-0.0841240681952942</c:v>
                </c:pt>
                <c:pt idx="846">
                  <c:v>-0.0841240681952942</c:v>
                </c:pt>
                <c:pt idx="847">
                  <c:v>-0.0841240681952942</c:v>
                </c:pt>
                <c:pt idx="848">
                  <c:v>-0.095851019212752</c:v>
                </c:pt>
                <c:pt idx="849">
                  <c:v>-0.10564459066523399</c:v>
                </c:pt>
                <c:pt idx="850">
                  <c:v>-0.104822870660325</c:v>
                </c:pt>
                <c:pt idx="851">
                  <c:v>-0.103072556256023</c:v>
                </c:pt>
                <c:pt idx="852">
                  <c:v>-0.103072556256023</c:v>
                </c:pt>
                <c:pt idx="853">
                  <c:v>-0.103072556256023</c:v>
                </c:pt>
                <c:pt idx="854">
                  <c:v>-0.0901825298689322</c:v>
                </c:pt>
                <c:pt idx="855">
                  <c:v>-0.0920471822529753</c:v>
                </c:pt>
                <c:pt idx="856">
                  <c:v>-0.0881621788034996</c:v>
                </c:pt>
                <c:pt idx="857">
                  <c:v>-0.08987393135062581</c:v>
                </c:pt>
                <c:pt idx="858">
                  <c:v>-0.0911423262011456</c:v>
                </c:pt>
                <c:pt idx="859">
                  <c:v>-0.0911423262011456</c:v>
                </c:pt>
                <c:pt idx="860">
                  <c:v>-0.0911423262011456</c:v>
                </c:pt>
                <c:pt idx="861">
                  <c:v>-0.0919881991972426</c:v>
                </c:pt>
                <c:pt idx="862">
                  <c:v>-0.0915536526776791</c:v>
                </c:pt>
                <c:pt idx="863">
                  <c:v>-0.0989293334887441</c:v>
                </c:pt>
                <c:pt idx="864">
                  <c:v>-0.08872298430703941</c:v>
                </c:pt>
                <c:pt idx="865">
                  <c:v>-0.0798445313361193</c:v>
                </c:pt>
                <c:pt idx="866">
                  <c:v>-0.0798445313361193</c:v>
                </c:pt>
                <c:pt idx="867">
                  <c:v>-0.0798445313361193</c:v>
                </c:pt>
                <c:pt idx="868">
                  <c:v>-0.07789560263518559</c:v>
                </c:pt>
                <c:pt idx="869">
                  <c:v>-0.0699248045605676</c:v>
                </c:pt>
                <c:pt idx="870">
                  <c:v>-0.06310350227684651</c:v>
                </c:pt>
                <c:pt idx="871">
                  <c:v>-0.0608780062776792</c:v>
                </c:pt>
                <c:pt idx="872">
                  <c:v>-0.061705323971533305</c:v>
                </c:pt>
                <c:pt idx="873">
                  <c:v>-0.061705323971533305</c:v>
                </c:pt>
                <c:pt idx="874">
                  <c:v>-0.061705323971533305</c:v>
                </c:pt>
                <c:pt idx="875">
                  <c:v>-0.054504830092258</c:v>
                </c:pt>
                <c:pt idx="876">
                  <c:v>-0.054527946474381694</c:v>
                </c:pt>
                <c:pt idx="877">
                  <c:v>-0.0668365388375626</c:v>
                </c:pt>
                <c:pt idx="878">
                  <c:v>-0.0572649053856498</c:v>
                </c:pt>
                <c:pt idx="879">
                  <c:v>-0.0314031678172365</c:v>
                </c:pt>
                <c:pt idx="880">
                  <c:v>-0.0314031678172365</c:v>
                </c:pt>
                <c:pt idx="881">
                  <c:v>-0.0314031678172365</c:v>
                </c:pt>
                <c:pt idx="882">
                  <c:v>-0.0351547596801954</c:v>
                </c:pt>
                <c:pt idx="883">
                  <c:v>-0.032566761491401704</c:v>
                </c:pt>
                <c:pt idx="884">
                  <c:v>-0.0180444904723813</c:v>
                </c:pt>
                <c:pt idx="885">
                  <c:v>-0.016034194514868</c:v>
                </c:pt>
                <c:pt idx="886">
                  <c:v>-0.00978271623354216</c:v>
                </c:pt>
                <c:pt idx="887">
                  <c:v>-0.00978271623354216</c:v>
                </c:pt>
                <c:pt idx="888">
                  <c:v>-0.00978271623354216</c:v>
                </c:pt>
                <c:pt idx="889">
                  <c:v>-0.00909565174602616</c:v>
                </c:pt>
                <c:pt idx="890">
                  <c:v>-0.0251268109183784</c:v>
                </c:pt>
                <c:pt idx="891">
                  <c:v>-0.0145066473983871</c:v>
                </c:pt>
                <c:pt idx="892">
                  <c:v>-0.00922284367815986</c:v>
                </c:pt>
                <c:pt idx="893">
                  <c:v>-0.00970579984100492</c:v>
                </c:pt>
                <c:pt idx="894">
                  <c:v>-0.00970579984100492</c:v>
                </c:pt>
                <c:pt idx="895">
                  <c:v>-0.00970579984100492</c:v>
                </c:pt>
                <c:pt idx="896">
                  <c:v>-0.012302505545934901</c:v>
                </c:pt>
                <c:pt idx="897">
                  <c:v>-0.022882966938781002</c:v>
                </c:pt>
                <c:pt idx="898">
                  <c:v>-0.0221769325053966</c:v>
                </c:pt>
                <c:pt idx="899">
                  <c:v>0.012600161316609699</c:v>
                </c:pt>
                <c:pt idx="900">
                  <c:v>0.0113464863147964</c:v>
                </c:pt>
                <c:pt idx="901">
                  <c:v>0.0113464863147964</c:v>
                </c:pt>
                <c:pt idx="902">
                  <c:v>0.0113464863147964</c:v>
                </c:pt>
                <c:pt idx="903">
                  <c:v>0.0153502851629886</c:v>
                </c:pt>
                <c:pt idx="904">
                  <c:v>0.0181873805098241</c:v>
                </c:pt>
                <c:pt idx="905">
                  <c:v>0.014529705428049499</c:v>
                </c:pt>
                <c:pt idx="906">
                  <c:v>0.0217854505704277</c:v>
                </c:pt>
                <c:pt idx="907">
                  <c:v>0.0365829412958988</c:v>
                </c:pt>
                <c:pt idx="908">
                  <c:v>0.0365829412958988</c:v>
                </c:pt>
                <c:pt idx="909">
                  <c:v>0.0365829412958988</c:v>
                </c:pt>
                <c:pt idx="910">
                  <c:v>0.0418476714093513</c:v>
                </c:pt>
                <c:pt idx="911">
                  <c:v>0.0225870603594985</c:v>
                </c:pt>
                <c:pt idx="912">
                  <c:v>0.0399942144031976</c:v>
                </c:pt>
                <c:pt idx="913">
                  <c:v>0.056544507394723095</c:v>
                </c:pt>
                <c:pt idx="914">
                  <c:v>0.0455037915775301</c:v>
                </c:pt>
                <c:pt idx="915">
                  <c:v>0.0455037915775301</c:v>
                </c:pt>
                <c:pt idx="916">
                  <c:v>0.0455037915775301</c:v>
                </c:pt>
                <c:pt idx="917">
                  <c:v>0.0369256442524057</c:v>
                </c:pt>
                <c:pt idx="918">
                  <c:v>0.0609685475573978</c:v>
                </c:pt>
                <c:pt idx="919">
                  <c:v>0.0561964140710842</c:v>
                </c:pt>
                <c:pt idx="920">
                  <c:v>0.0435434601768942</c:v>
                </c:pt>
                <c:pt idx="921">
                  <c:v>0.039048515954252495</c:v>
                </c:pt>
                <c:pt idx="922">
                  <c:v>0.039048515954252495</c:v>
                </c:pt>
                <c:pt idx="923">
                  <c:v>0.039048515954252495</c:v>
                </c:pt>
                <c:pt idx="924">
                  <c:v>0.0473811942530586</c:v>
                </c:pt>
                <c:pt idx="925">
                  <c:v>0.0511490608783199</c:v>
                </c:pt>
                <c:pt idx="926">
                  <c:v>0.0667484723755809</c:v>
                </c:pt>
                <c:pt idx="927">
                  <c:v>0.075111626980864</c:v>
                </c:pt>
                <c:pt idx="928">
                  <c:v>0.0764762191525087</c:v>
                </c:pt>
                <c:pt idx="929">
                  <c:v>0.0764762191525087</c:v>
                </c:pt>
                <c:pt idx="930">
                  <c:v>0.0764762191525087</c:v>
                </c:pt>
                <c:pt idx="931">
                  <c:v>0.07541867058557469</c:v>
                </c:pt>
                <c:pt idx="932">
                  <c:v>0.0682742572566534</c:v>
                </c:pt>
                <c:pt idx="933">
                  <c:v>0.0648924238467677</c:v>
                </c:pt>
                <c:pt idx="934">
                  <c:v>0.0653735141132978</c:v>
                </c:pt>
                <c:pt idx="935">
                  <c:v>0.06540222818436629</c:v>
                </c:pt>
                <c:pt idx="936">
                  <c:v>0.06540222818436629</c:v>
                </c:pt>
                <c:pt idx="937">
                  <c:v>0.06540222818436629</c:v>
                </c:pt>
                <c:pt idx="938">
                  <c:v>0.0648712770218653</c:v>
                </c:pt>
                <c:pt idx="939">
                  <c:v>0.062099384385145596</c:v>
                </c:pt>
                <c:pt idx="940">
                  <c:v>0.0674855014199742</c:v>
                </c:pt>
                <c:pt idx="941">
                  <c:v>0.059304375366302196</c:v>
                </c:pt>
                <c:pt idx="942">
                  <c:v>0.0669456354195241</c:v>
                </c:pt>
                <c:pt idx="943">
                  <c:v>0.0669456354195241</c:v>
                </c:pt>
                <c:pt idx="944">
                  <c:v>0.0669456354195241</c:v>
                </c:pt>
                <c:pt idx="945">
                  <c:v>0.070445642262688</c:v>
                </c:pt>
                <c:pt idx="946">
                  <c:v>0.06751069102022561</c:v>
                </c:pt>
                <c:pt idx="947">
                  <c:v>0.0681116132945362</c:v>
                </c:pt>
                <c:pt idx="948">
                  <c:v>0.0805873070388088</c:v>
                </c:pt>
                <c:pt idx="949">
                  <c:v>0.058009546984654305</c:v>
                </c:pt>
                <c:pt idx="950">
                  <c:v>0.058009546984654305</c:v>
                </c:pt>
                <c:pt idx="951">
                  <c:v>0.058009546984654305</c:v>
                </c:pt>
                <c:pt idx="952">
                  <c:v>0.040839258112043496</c:v>
                </c:pt>
                <c:pt idx="953">
                  <c:v>0.0358703762254122</c:v>
                </c:pt>
                <c:pt idx="954">
                  <c:v>0.024493177106095398</c:v>
                </c:pt>
                <c:pt idx="955">
                  <c:v>0.0237040066257907</c:v>
                </c:pt>
                <c:pt idx="956">
                  <c:v>0.0010894469498697</c:v>
                </c:pt>
                <c:pt idx="957">
                  <c:v>0.0010894469498697</c:v>
                </c:pt>
                <c:pt idx="958">
                  <c:v>0.0010894469498697</c:v>
                </c:pt>
                <c:pt idx="959">
                  <c:v>0.0161329250061911</c:v>
                </c:pt>
                <c:pt idx="960">
                  <c:v>0.0327482133860195</c:v>
                </c:pt>
                <c:pt idx="961">
                  <c:v>0.0269726423259046</c:v>
                </c:pt>
                <c:pt idx="962">
                  <c:v>0.020392040666808203</c:v>
                </c:pt>
                <c:pt idx="963">
                  <c:v>0.041220833908444596</c:v>
                </c:pt>
                <c:pt idx="964">
                  <c:v>0.041220833908444596</c:v>
                </c:pt>
                <c:pt idx="965">
                  <c:v>0.041220833908444596</c:v>
                </c:pt>
                <c:pt idx="966">
                  <c:v>0.0416161966053948</c:v>
                </c:pt>
                <c:pt idx="967">
                  <c:v>0.0284014005986012</c:v>
                </c:pt>
                <c:pt idx="968">
                  <c:v>0.0209342908681051</c:v>
                </c:pt>
                <c:pt idx="969">
                  <c:v>0.0339783573620836</c:v>
                </c:pt>
                <c:pt idx="970">
                  <c:v>0.05164849912528</c:v>
                </c:pt>
                <c:pt idx="971">
                  <c:v>0.05164849912528</c:v>
                </c:pt>
                <c:pt idx="972">
                  <c:v>0.05164849912528</c:v>
                </c:pt>
                <c:pt idx="973">
                  <c:v>0.0667447405829511</c:v>
                </c:pt>
                <c:pt idx="974">
                  <c:v>0.0641994506875878</c:v>
                </c:pt>
                <c:pt idx="975">
                  <c:v>0.06597174120404241</c:v>
                </c:pt>
                <c:pt idx="976">
                  <c:v>0.0681103693636596</c:v>
                </c:pt>
                <c:pt idx="977">
                  <c:v>0.0720611974886894</c:v>
                </c:pt>
                <c:pt idx="978">
                  <c:v>0.0720611974886894</c:v>
                </c:pt>
                <c:pt idx="979">
                  <c:v>0.0720611974886894</c:v>
                </c:pt>
                <c:pt idx="980">
                  <c:v>0.0754986968053035</c:v>
                </c:pt>
                <c:pt idx="981">
                  <c:v>0.0864515081738824</c:v>
                </c:pt>
                <c:pt idx="982">
                  <c:v>0.100920186504302</c:v>
                </c:pt>
                <c:pt idx="983">
                  <c:v>0.0958031731824475</c:v>
                </c:pt>
                <c:pt idx="984">
                  <c:v>0.09318666824439809</c:v>
                </c:pt>
                <c:pt idx="985">
                  <c:v>0.09318666824439809</c:v>
                </c:pt>
                <c:pt idx="986">
                  <c:v>0.09318666824439809</c:v>
                </c:pt>
                <c:pt idx="987">
                  <c:v>0.0980028576159251</c:v>
                </c:pt>
                <c:pt idx="988">
                  <c:v>0.0968181171168574</c:v>
                </c:pt>
                <c:pt idx="989">
                  <c:v>0.0964818411365464</c:v>
                </c:pt>
                <c:pt idx="990">
                  <c:v>0.103858869539394</c:v>
                </c:pt>
                <c:pt idx="991">
                  <c:v>0.11863707933627801</c:v>
                </c:pt>
                <c:pt idx="992">
                  <c:v>0.11863707933627801</c:v>
                </c:pt>
                <c:pt idx="993">
                  <c:v>0.11863707933627801</c:v>
                </c:pt>
                <c:pt idx="994">
                  <c:v>0.123365778902817</c:v>
                </c:pt>
                <c:pt idx="995">
                  <c:v>0.136675113656233</c:v>
                </c:pt>
                <c:pt idx="996">
                  <c:v>0.124001531241672</c:v>
                </c:pt>
                <c:pt idx="997">
                  <c:v>0.111643285304333</c:v>
                </c:pt>
                <c:pt idx="998">
                  <c:v>0.10866096102765299</c:v>
                </c:pt>
                <c:pt idx="999">
                  <c:v>0.10866096102765299</c:v>
                </c:pt>
                <c:pt idx="1000">
                  <c:v>0.10866096102765299</c:v>
                </c:pt>
                <c:pt idx="1001">
                  <c:v>0.12538778854275098</c:v>
                </c:pt>
                <c:pt idx="1002">
                  <c:v>0.124880575727812</c:v>
                </c:pt>
                <c:pt idx="1003">
                  <c:v>0.147323680264573</c:v>
                </c:pt>
                <c:pt idx="1004">
                  <c:v>0.146190666557792</c:v>
                </c:pt>
                <c:pt idx="1005">
                  <c:v>0.142040083866159</c:v>
                </c:pt>
                <c:pt idx="1006">
                  <c:v>0.142040083866159</c:v>
                </c:pt>
                <c:pt idx="1007">
                  <c:v>0.142040083866159</c:v>
                </c:pt>
                <c:pt idx="1008">
                  <c:v>0.145679929272036</c:v>
                </c:pt>
                <c:pt idx="1009">
                  <c:v>0.142672726377823</c:v>
                </c:pt>
                <c:pt idx="1010">
                  <c:v>0.158339310142421</c:v>
                </c:pt>
                <c:pt idx="1011">
                  <c:v>0.159798130077969</c:v>
                </c:pt>
                <c:pt idx="1012">
                  <c:v>0.15942837162489598</c:v>
                </c:pt>
                <c:pt idx="1013">
                  <c:v>0.15942837162489598</c:v>
                </c:pt>
                <c:pt idx="1014">
                  <c:v>0.15942837162489598</c:v>
                </c:pt>
                <c:pt idx="1015">
                  <c:v>0.16662119459709898</c:v>
                </c:pt>
                <c:pt idx="1016">
                  <c:v>0.17561699171404602</c:v>
                </c:pt>
                <c:pt idx="1017">
                  <c:v>0.17887225515723698</c:v>
                </c:pt>
                <c:pt idx="1018">
                  <c:v>0.166527899781353</c:v>
                </c:pt>
                <c:pt idx="1019">
                  <c:v>0.151039094471204</c:v>
                </c:pt>
                <c:pt idx="1020">
                  <c:v>0.151039094471204</c:v>
                </c:pt>
                <c:pt idx="1021">
                  <c:v>0.151039094471204</c:v>
                </c:pt>
                <c:pt idx="1022">
                  <c:v>0.134296821481055</c:v>
                </c:pt>
                <c:pt idx="1023">
                  <c:v>0.15024494826739299</c:v>
                </c:pt>
                <c:pt idx="1024">
                  <c:v>0.153877019105291</c:v>
                </c:pt>
                <c:pt idx="1025">
                  <c:v>0.147440402445162</c:v>
                </c:pt>
                <c:pt idx="1026">
                  <c:v>0.139449494154706</c:v>
                </c:pt>
                <c:pt idx="1027">
                  <c:v>0.139449494154706</c:v>
                </c:pt>
                <c:pt idx="1028">
                  <c:v>0.139449494154706</c:v>
                </c:pt>
                <c:pt idx="1029">
                  <c:v>0.146802369566366</c:v>
                </c:pt>
                <c:pt idx="1030">
                  <c:v>0.1489104177586</c:v>
                </c:pt>
                <c:pt idx="1031">
                  <c:v>0.167272703393725</c:v>
                </c:pt>
                <c:pt idx="1032">
                  <c:v>0.168024141304106</c:v>
                </c:pt>
                <c:pt idx="1033">
                  <c:v>0.169436106509968</c:v>
                </c:pt>
                <c:pt idx="1034">
                  <c:v>0.169436106509968</c:v>
                </c:pt>
                <c:pt idx="1035">
                  <c:v>0.169436106509968</c:v>
                </c:pt>
                <c:pt idx="1036">
                  <c:v>0.167068906051773</c:v>
                </c:pt>
                <c:pt idx="1037">
                  <c:v>0.16800537868005003</c:v>
                </c:pt>
                <c:pt idx="1038">
                  <c:v>0.18319149414355698</c:v>
                </c:pt>
                <c:pt idx="1039">
                  <c:v>0.16134402517488</c:v>
                </c:pt>
                <c:pt idx="1040">
                  <c:v>0.169139118013177</c:v>
                </c:pt>
                <c:pt idx="1041">
                  <c:v>0.169139118013177</c:v>
                </c:pt>
                <c:pt idx="1042">
                  <c:v>0.169139118013177</c:v>
                </c:pt>
                <c:pt idx="1043">
                  <c:v>0.166332498972818</c:v>
                </c:pt>
                <c:pt idx="1044">
                  <c:v>0.163082003931322</c:v>
                </c:pt>
                <c:pt idx="1045">
                  <c:v>0.127907577855144</c:v>
                </c:pt>
                <c:pt idx="1046">
                  <c:v>0.124604112090485</c:v>
                </c:pt>
                <c:pt idx="1047">
                  <c:v>0.115812734280928</c:v>
                </c:pt>
                <c:pt idx="1048">
                  <c:v>0.115812734280928</c:v>
                </c:pt>
                <c:pt idx="1049">
                  <c:v>0.115812734280928</c:v>
                </c:pt>
                <c:pt idx="1050">
                  <c:v>0.13574797050953</c:v>
                </c:pt>
                <c:pt idx="1051">
                  <c:v>0.130389530936706</c:v>
                </c:pt>
                <c:pt idx="1052">
                  <c:v>0.0944628376628968</c:v>
                </c:pt>
                <c:pt idx="1053">
                  <c:v>0.0820026930545818</c:v>
                </c:pt>
                <c:pt idx="1054">
                  <c:v>0.093419905283763</c:v>
                </c:pt>
                <c:pt idx="1055">
                  <c:v>0.093419905283763</c:v>
                </c:pt>
                <c:pt idx="1056">
                  <c:v>0.093419905283763</c:v>
                </c:pt>
                <c:pt idx="1057">
                  <c:v>0.0909911302471758</c:v>
                </c:pt>
                <c:pt idx="1058">
                  <c:v>0.0715292097171245</c:v>
                </c:pt>
                <c:pt idx="1059">
                  <c:v>0.113187729148555</c:v>
                </c:pt>
                <c:pt idx="1060">
                  <c:v>0.0914243291749564</c:v>
                </c:pt>
                <c:pt idx="1061">
                  <c:v>0.0661843497230368</c:v>
                </c:pt>
                <c:pt idx="1062">
                  <c:v>0.0661843497230368</c:v>
                </c:pt>
                <c:pt idx="1063">
                  <c:v>0.0661843497230368</c:v>
                </c:pt>
                <c:pt idx="1064">
                  <c:v>0.0355760829121868</c:v>
                </c:pt>
                <c:pt idx="1065">
                  <c:v>0.05438162258301191</c:v>
                </c:pt>
                <c:pt idx="1066">
                  <c:v>0.0435178559330172</c:v>
                </c:pt>
                <c:pt idx="1067">
                  <c:v>0.0757561904967624</c:v>
                </c:pt>
                <c:pt idx="1068">
                  <c:v>0.0814884312980087</c:v>
                </c:pt>
                <c:pt idx="1069">
                  <c:v>0.0814884312980087</c:v>
                </c:pt>
                <c:pt idx="1070">
                  <c:v>0.0814884312980087</c:v>
                </c:pt>
                <c:pt idx="1071">
                  <c:v>0.0842971235564948</c:v>
                </c:pt>
                <c:pt idx="1072">
                  <c:v>0.10876254871591</c:v>
                </c:pt>
                <c:pt idx="1073">
                  <c:v>0.110709093215997</c:v>
                </c:pt>
                <c:pt idx="1074">
                  <c:v>0.131139724916211</c:v>
                </c:pt>
                <c:pt idx="1075">
                  <c:v>0.133811170134644</c:v>
                </c:pt>
                <c:pt idx="1076">
                  <c:v>0.133811170134644</c:v>
                </c:pt>
                <c:pt idx="1077">
                  <c:v>0.133811170134644</c:v>
                </c:pt>
                <c:pt idx="1078">
                  <c:v>0.150692763382974</c:v>
                </c:pt>
                <c:pt idx="1079">
                  <c:v>0.142381853874508</c:v>
                </c:pt>
                <c:pt idx="1080">
                  <c:v>0.15028143690644</c:v>
                </c:pt>
                <c:pt idx="1081">
                  <c:v>0.134852754921994</c:v>
                </c:pt>
                <c:pt idx="1082">
                  <c:v>0.153113556529769</c:v>
                </c:pt>
                <c:pt idx="1083">
                  <c:v>0.153113556529769</c:v>
                </c:pt>
                <c:pt idx="1084">
                  <c:v>0.153113556529769</c:v>
                </c:pt>
                <c:pt idx="1085">
                  <c:v>0.144404796462601</c:v>
                </c:pt>
                <c:pt idx="1086">
                  <c:v>0.147647931579744</c:v>
                </c:pt>
                <c:pt idx="1087">
                  <c:v>0.133531078365593</c:v>
                </c:pt>
                <c:pt idx="1088">
                  <c:v>0.125397429007045</c:v>
                </c:pt>
                <c:pt idx="1089">
                  <c:v>0.133699941982093</c:v>
                </c:pt>
                <c:pt idx="1090">
                  <c:v>0.133699941982093</c:v>
                </c:pt>
                <c:pt idx="1091">
                  <c:v>0.133699941982093</c:v>
                </c:pt>
                <c:pt idx="1092">
                  <c:v>0.132275330145652</c:v>
                </c:pt>
                <c:pt idx="1093">
                  <c:v>0.09149492225220421</c:v>
                </c:pt>
                <c:pt idx="1094">
                  <c:v>0.0854156247363828</c:v>
                </c:pt>
                <c:pt idx="1095">
                  <c:v>0.0869181895744252</c:v>
                </c:pt>
                <c:pt idx="1096">
                  <c:v>0.0622133077212621</c:v>
                </c:pt>
                <c:pt idx="1097">
                  <c:v>0.0622133077212621</c:v>
                </c:pt>
                <c:pt idx="1098">
                  <c:v>0.0622133077212621</c:v>
                </c:pt>
                <c:pt idx="1099">
                  <c:v>0.078689586825629</c:v>
                </c:pt>
                <c:pt idx="1100">
                  <c:v>0.0784620511361152</c:v>
                </c:pt>
                <c:pt idx="1101">
                  <c:v>0.106811961440474</c:v>
                </c:pt>
                <c:pt idx="1102">
                  <c:v>0.120201218752713</c:v>
                </c:pt>
                <c:pt idx="1103">
                  <c:v>0.12487062428079901</c:v>
                </c:pt>
                <c:pt idx="1104">
                  <c:v>0.12487062428079901</c:v>
                </c:pt>
                <c:pt idx="1105">
                  <c:v>0.12487062428079901</c:v>
                </c:pt>
                <c:pt idx="1106">
                  <c:v>0.123461976223941</c:v>
                </c:pt>
                <c:pt idx="1107">
                  <c:v>0.125690996693926</c:v>
                </c:pt>
                <c:pt idx="1108">
                  <c:v>0.120741810379507</c:v>
                </c:pt>
                <c:pt idx="1109">
                  <c:v>0.149116495640492</c:v>
                </c:pt>
                <c:pt idx="1110">
                  <c:v>0.14185795165364198</c:v>
                </c:pt>
                <c:pt idx="1111">
                  <c:v>0.14185795165364198</c:v>
                </c:pt>
                <c:pt idx="1112">
                  <c:v>0.14185795165364198</c:v>
                </c:pt>
                <c:pt idx="1113">
                  <c:v>0.146129506623025</c:v>
                </c:pt>
                <c:pt idx="1114">
                  <c:v>0.162812589235629</c:v>
                </c:pt>
                <c:pt idx="1115">
                  <c:v>0.16443851055226802</c:v>
                </c:pt>
                <c:pt idx="1116">
                  <c:v>0.180857154192686</c:v>
                </c:pt>
                <c:pt idx="1117">
                  <c:v>0.179932084264111</c:v>
                </c:pt>
                <c:pt idx="1118">
                  <c:v>0.179932084264111</c:v>
                </c:pt>
                <c:pt idx="1119">
                  <c:v>0.179932084264111</c:v>
                </c:pt>
                <c:pt idx="1120">
                  <c:v>0.17912943786597602</c:v>
                </c:pt>
                <c:pt idx="1121">
                  <c:v>0.159809221794953</c:v>
                </c:pt>
                <c:pt idx="1122">
                  <c:v>0.17098791027854301</c:v>
                </c:pt>
                <c:pt idx="1123">
                  <c:v>0.17123628181024</c:v>
                </c:pt>
                <c:pt idx="1124">
                  <c:v>0.188421705175183</c:v>
                </c:pt>
                <c:pt idx="1125">
                  <c:v>0.188421705175183</c:v>
                </c:pt>
                <c:pt idx="1126">
                  <c:v>0.188421705175183</c:v>
                </c:pt>
                <c:pt idx="1127">
                  <c:v>0.192733895219869</c:v>
                </c:pt>
                <c:pt idx="1128">
                  <c:v>0.193833737436608</c:v>
                </c:pt>
                <c:pt idx="1129">
                  <c:v>0.19695279044880898</c:v>
                </c:pt>
                <c:pt idx="1130">
                  <c:v>0.201962203749837</c:v>
                </c:pt>
                <c:pt idx="1131">
                  <c:v>0.214818954985978</c:v>
                </c:pt>
                <c:pt idx="1132">
                  <c:v>0.214818954985978</c:v>
                </c:pt>
                <c:pt idx="1133">
                  <c:v>0.214818954985978</c:v>
                </c:pt>
                <c:pt idx="1134">
                  <c:v>0.22220676412309</c:v>
                </c:pt>
                <c:pt idx="1135">
                  <c:v>0.19603787928906002</c:v>
                </c:pt>
                <c:pt idx="1136">
                  <c:v>0.204316861238359</c:v>
                </c:pt>
                <c:pt idx="1137">
                  <c:v>0.21265130177257402</c:v>
                </c:pt>
                <c:pt idx="1138">
                  <c:v>0.22129247492878001</c:v>
                </c:pt>
                <c:pt idx="1139">
                  <c:v>0.22129247492878001</c:v>
                </c:pt>
                <c:pt idx="1140">
                  <c:v>0.22129247492878001</c:v>
                </c:pt>
                <c:pt idx="1141">
                  <c:v>0.224092977975662</c:v>
                </c:pt>
                <c:pt idx="1142">
                  <c:v>0.225634726636317</c:v>
                </c:pt>
                <c:pt idx="1143">
                  <c:v>0.21128453272189499</c:v>
                </c:pt>
                <c:pt idx="1144">
                  <c:v>0.213049048670371</c:v>
                </c:pt>
                <c:pt idx="1145">
                  <c:v>0.220802988128832</c:v>
                </c:pt>
                <c:pt idx="1146">
                  <c:v>0.220802988128832</c:v>
                </c:pt>
                <c:pt idx="1147">
                  <c:v>0.220802988128832</c:v>
                </c:pt>
                <c:pt idx="1148">
                  <c:v>0.220388551825108</c:v>
                </c:pt>
                <c:pt idx="1149">
                  <c:v>0.23090287755968</c:v>
                </c:pt>
                <c:pt idx="1150">
                  <c:v>0.22276902087932002</c:v>
                </c:pt>
                <c:pt idx="1151">
                  <c:v>0.18845104121169</c:v>
                </c:pt>
                <c:pt idx="1152">
                  <c:v>0.204563263212835</c:v>
                </c:pt>
                <c:pt idx="1153">
                  <c:v>0.204563263212835</c:v>
                </c:pt>
                <c:pt idx="1154">
                  <c:v>0.204563263212835</c:v>
                </c:pt>
                <c:pt idx="1155">
                  <c:v>0.205424167040357</c:v>
                </c:pt>
                <c:pt idx="1156">
                  <c:v>0.21995991397720802</c:v>
                </c:pt>
                <c:pt idx="1157">
                  <c:v>0.23430461386359203</c:v>
                </c:pt>
                <c:pt idx="1158">
                  <c:v>0.250358682096255</c:v>
                </c:pt>
                <c:pt idx="1159">
                  <c:v>0.248337398082665</c:v>
                </c:pt>
                <c:pt idx="1160">
                  <c:v>0.248337398082665</c:v>
                </c:pt>
                <c:pt idx="1161">
                  <c:v>0.248337398082665</c:v>
                </c:pt>
                <c:pt idx="1162">
                  <c:v>0.251584886957876</c:v>
                </c:pt>
                <c:pt idx="1163">
                  <c:v>0.243750921279686</c:v>
                </c:pt>
                <c:pt idx="1164">
                  <c:v>0.238964067944666</c:v>
                </c:pt>
                <c:pt idx="1165">
                  <c:v>0.23611349667999998</c:v>
                </c:pt>
                <c:pt idx="1166">
                  <c:v>0.218605998878921</c:v>
                </c:pt>
                <c:pt idx="1167">
                  <c:v>0.218605998878921</c:v>
                </c:pt>
                <c:pt idx="1168">
                  <c:v>0.218605998878921</c:v>
                </c:pt>
                <c:pt idx="1169">
                  <c:v>0.227329478794796</c:v>
                </c:pt>
                <c:pt idx="1170">
                  <c:v>0.237055359675409</c:v>
                </c:pt>
                <c:pt idx="1171">
                  <c:v>0.23844306822917702</c:v>
                </c:pt>
                <c:pt idx="1172">
                  <c:v>0.23597034096828298</c:v>
                </c:pt>
                <c:pt idx="1173">
                  <c:v>0.23795596563007698</c:v>
                </c:pt>
                <c:pt idx="1174">
                  <c:v>0.23795596563007698</c:v>
                </c:pt>
                <c:pt idx="1175">
                  <c:v>0.23795596563007698</c:v>
                </c:pt>
                <c:pt idx="1176">
                  <c:v>0.238104304387113</c:v>
                </c:pt>
                <c:pt idx="1177">
                  <c:v>0.236631075585578</c:v>
                </c:pt>
                <c:pt idx="1178">
                  <c:v>0.233450447994984</c:v>
                </c:pt>
                <c:pt idx="1179">
                  <c:v>0.236741578111783</c:v>
                </c:pt>
                <c:pt idx="1180">
                  <c:v>0.244460169201168</c:v>
                </c:pt>
                <c:pt idx="1181">
                  <c:v>0.244460169201168</c:v>
                </c:pt>
                <c:pt idx="1182">
                  <c:v>0.244460169201168</c:v>
                </c:pt>
                <c:pt idx="1183">
                  <c:v>0.257429807164363</c:v>
                </c:pt>
                <c:pt idx="1184">
                  <c:v>0.26763366848431397</c:v>
                </c:pt>
                <c:pt idx="1185">
                  <c:v>0.274373596956523</c:v>
                </c:pt>
                <c:pt idx="1186">
                  <c:v>0.27220418150771</c:v>
                </c:pt>
                <c:pt idx="1187">
                  <c:v>0.280717229783625</c:v>
                </c:pt>
                <c:pt idx="1188">
                  <c:v>0.280717229783625</c:v>
                </c:pt>
                <c:pt idx="1189">
                  <c:v>0.280717229783625</c:v>
                </c:pt>
                <c:pt idx="1190">
                  <c:v>0.274832814771806</c:v>
                </c:pt>
                <c:pt idx="1191">
                  <c:v>0.264808079498087</c:v>
                </c:pt>
                <c:pt idx="1192">
                  <c:v>0.275332874984205</c:v>
                </c:pt>
                <c:pt idx="1193">
                  <c:v>0.270686585838242</c:v>
                </c:pt>
                <c:pt idx="1194">
                  <c:v>0.26232612641652503</c:v>
                </c:pt>
                <c:pt idx="1195">
                  <c:v>0.26232612641652503</c:v>
                </c:pt>
                <c:pt idx="1196">
                  <c:v>0.26232612641652503</c:v>
                </c:pt>
                <c:pt idx="1197">
                  <c:v>0.265079982055534</c:v>
                </c:pt>
                <c:pt idx="1198">
                  <c:v>0.25707549418634096</c:v>
                </c:pt>
                <c:pt idx="1199">
                  <c:v>0.230452678243253</c:v>
                </c:pt>
                <c:pt idx="1200">
                  <c:v>0.228491828538085</c:v>
                </c:pt>
                <c:pt idx="1201">
                  <c:v>0.22545674086005502</c:v>
                </c:pt>
                <c:pt idx="1202">
                  <c:v>0.22545674086005502</c:v>
                </c:pt>
                <c:pt idx="1203">
                  <c:v>0.22545674086005502</c:v>
                </c:pt>
                <c:pt idx="1204">
                  <c:v>0.237964154841681</c:v>
                </c:pt>
                <c:pt idx="1205">
                  <c:v>0.246811613201593</c:v>
                </c:pt>
                <c:pt idx="1206">
                  <c:v>0.24695580552237298</c:v>
                </c:pt>
                <c:pt idx="1207">
                  <c:v>0.243938132876616</c:v>
                </c:pt>
                <c:pt idx="1208">
                  <c:v>0.236683320682395</c:v>
                </c:pt>
                <c:pt idx="1209">
                  <c:v>0.236683320682395</c:v>
                </c:pt>
                <c:pt idx="1210">
                  <c:v>0.236683320682395</c:v>
                </c:pt>
                <c:pt idx="1211">
                  <c:v>0.22554765147495398</c:v>
                </c:pt>
                <c:pt idx="1212">
                  <c:v>0.21843485472247998</c:v>
                </c:pt>
                <c:pt idx="1213">
                  <c:v>0.21843485472247998</c:v>
                </c:pt>
                <c:pt idx="1214">
                  <c:v>0.224089142522125</c:v>
                </c:pt>
                <c:pt idx="1215">
                  <c:v>0.238034644258023</c:v>
                </c:pt>
                <c:pt idx="1216">
                  <c:v>0.238034644258023</c:v>
                </c:pt>
                <c:pt idx="1217">
                  <c:v>0.238034644258023</c:v>
                </c:pt>
                <c:pt idx="1218">
                  <c:v>0.253402269968608</c:v>
                </c:pt>
                <c:pt idx="1219">
                  <c:v>0.227084735394823</c:v>
                </c:pt>
                <c:pt idx="1220">
                  <c:v>0.220763804306219</c:v>
                </c:pt>
                <c:pt idx="1221">
                  <c:v>0.221605116222435</c:v>
                </c:pt>
                <c:pt idx="1222">
                  <c:v>0.20708170493344402</c:v>
                </c:pt>
                <c:pt idx="1223">
                  <c:v>0.20708170493344402</c:v>
                </c:pt>
                <c:pt idx="1224">
                  <c:v>0.20708170493344402</c:v>
                </c:pt>
                <c:pt idx="1225">
                  <c:v>0.196731889057304</c:v>
                </c:pt>
                <c:pt idx="1226">
                  <c:v>0.197356860661896</c:v>
                </c:pt>
                <c:pt idx="1227">
                  <c:v>0.221054884131347</c:v>
                </c:pt>
                <c:pt idx="1228">
                  <c:v>0.219115077590175</c:v>
                </c:pt>
                <c:pt idx="1229">
                  <c:v>0.227483518901684</c:v>
                </c:pt>
                <c:pt idx="1230">
                  <c:v>0.227483518901684</c:v>
                </c:pt>
                <c:pt idx="1231">
                  <c:v>0.227483518901684</c:v>
                </c:pt>
                <c:pt idx="1232">
                  <c:v>0.231520385579012</c:v>
                </c:pt>
                <c:pt idx="1233">
                  <c:v>0.241168624440743</c:v>
                </c:pt>
                <c:pt idx="1234">
                  <c:v>0.250290265898041</c:v>
                </c:pt>
                <c:pt idx="1235">
                  <c:v>0.258049906706354</c:v>
                </c:pt>
                <c:pt idx="1236">
                  <c:v>0.262176336406799</c:v>
                </c:pt>
                <c:pt idx="1237">
                  <c:v>0.262176336406799</c:v>
                </c:pt>
                <c:pt idx="1238">
                  <c:v>0.262176336406799</c:v>
                </c:pt>
                <c:pt idx="1239">
                  <c:v>0.22960773819531302</c:v>
                </c:pt>
                <c:pt idx="1240">
                  <c:v>0.246956842131437</c:v>
                </c:pt>
                <c:pt idx="1241">
                  <c:v>0.24289613344563998</c:v>
                </c:pt>
                <c:pt idx="1242">
                  <c:v>0.255467298884692</c:v>
                </c:pt>
                <c:pt idx="1243">
                  <c:v>0.248094624239913</c:v>
                </c:pt>
                <c:pt idx="1244">
                  <c:v>0.248094624239913</c:v>
                </c:pt>
                <c:pt idx="1245">
                  <c:v>0.248094624239913</c:v>
                </c:pt>
                <c:pt idx="1246">
                  <c:v>0.236469571893431</c:v>
                </c:pt>
                <c:pt idx="1247">
                  <c:v>0.249923720933066</c:v>
                </c:pt>
                <c:pt idx="1248">
                  <c:v>0.259110254117761</c:v>
                </c:pt>
                <c:pt idx="1249">
                  <c:v>0.273199429869907</c:v>
                </c:pt>
                <c:pt idx="1250">
                  <c:v>0.270182379189588</c:v>
                </c:pt>
                <c:pt idx="1251">
                  <c:v>0.270182379189588</c:v>
                </c:pt>
                <c:pt idx="1252">
                  <c:v>0.270182379189588</c:v>
                </c:pt>
                <c:pt idx="1253">
                  <c:v>0.276097270507884</c:v>
                </c:pt>
                <c:pt idx="1254">
                  <c:v>0.270250484405083</c:v>
                </c:pt>
                <c:pt idx="1255">
                  <c:v>0.271196804819466</c:v>
                </c:pt>
                <c:pt idx="1256">
                  <c:v>0.282361810063414</c:v>
                </c:pt>
                <c:pt idx="1257">
                  <c:v>0.287275026043317</c:v>
                </c:pt>
                <c:pt idx="1258">
                  <c:v>0.287275026043317</c:v>
                </c:pt>
                <c:pt idx="1259">
                  <c:v>0.287275026043317</c:v>
                </c:pt>
                <c:pt idx="1260">
                  <c:v>0.28944070969950003</c:v>
                </c:pt>
                <c:pt idx="1261">
                  <c:v>0.291669730169485</c:v>
                </c:pt>
                <c:pt idx="1262">
                  <c:v>0.278529984658913</c:v>
                </c:pt>
                <c:pt idx="1263">
                  <c:v>0.27770660607950204</c:v>
                </c:pt>
                <c:pt idx="1264">
                  <c:v>0.272871446762106</c:v>
                </c:pt>
                <c:pt idx="1265">
                  <c:v>0.272871446762106</c:v>
                </c:pt>
                <c:pt idx="1266">
                  <c:v>0.272871446762106</c:v>
                </c:pt>
                <c:pt idx="1267">
                  <c:v>0.260375642801995</c:v>
                </c:pt>
                <c:pt idx="1268">
                  <c:v>0.247536824902658</c:v>
                </c:pt>
                <c:pt idx="1269">
                  <c:v>0.253134099203792</c:v>
                </c:pt>
                <c:pt idx="1270">
                  <c:v>0.232987913030697</c:v>
                </c:pt>
                <c:pt idx="1271">
                  <c:v>0.237359189792022</c:v>
                </c:pt>
                <c:pt idx="1272">
                  <c:v>0.237359189792022</c:v>
                </c:pt>
                <c:pt idx="1273">
                  <c:v>0.237359189792022</c:v>
                </c:pt>
                <c:pt idx="1274">
                  <c:v>0.223580582115403</c:v>
                </c:pt>
                <c:pt idx="1275">
                  <c:v>0.212560080174955</c:v>
                </c:pt>
                <c:pt idx="1276">
                  <c:v>0.230986531911133</c:v>
                </c:pt>
                <c:pt idx="1277">
                  <c:v>0.22014878414864</c:v>
                </c:pt>
                <c:pt idx="1278">
                  <c:v>0.22559844531908302</c:v>
                </c:pt>
                <c:pt idx="1279">
                  <c:v>0.22559844531908302</c:v>
                </c:pt>
                <c:pt idx="1280">
                  <c:v>0.22559844531908302</c:v>
                </c:pt>
                <c:pt idx="1281">
                  <c:v>0.19344075894050503</c:v>
                </c:pt>
                <c:pt idx="1282">
                  <c:v>0.18604952899348198</c:v>
                </c:pt>
                <c:pt idx="1283">
                  <c:v>0.187041149223955</c:v>
                </c:pt>
                <c:pt idx="1284">
                  <c:v>0.17405119372310998</c:v>
                </c:pt>
                <c:pt idx="1285">
                  <c:v>0.19507911956590998</c:v>
                </c:pt>
                <c:pt idx="1286">
                  <c:v>0.19507911956590998</c:v>
                </c:pt>
                <c:pt idx="1287">
                  <c:v>0.19507911956590998</c:v>
                </c:pt>
                <c:pt idx="1288">
                  <c:v>0.20469926632201102</c:v>
                </c:pt>
                <c:pt idx="1289">
                  <c:v>0.196835031659156</c:v>
                </c:pt>
                <c:pt idx="1290">
                  <c:v>0.20825276219286898</c:v>
                </c:pt>
                <c:pt idx="1291">
                  <c:v>0.203066296063737</c:v>
                </c:pt>
                <c:pt idx="1292">
                  <c:v>0.20014544270454301</c:v>
                </c:pt>
                <c:pt idx="1293">
                  <c:v>0.20014544270454301</c:v>
                </c:pt>
                <c:pt idx="1294">
                  <c:v>0.20014544270454301</c:v>
                </c:pt>
                <c:pt idx="1295">
                  <c:v>0.215222610555439</c:v>
                </c:pt>
                <c:pt idx="1296">
                  <c:v>0.213675575188558</c:v>
                </c:pt>
                <c:pt idx="1297">
                  <c:v>0.203839606425365</c:v>
                </c:pt>
                <c:pt idx="1298">
                  <c:v>0.19914200513074198</c:v>
                </c:pt>
                <c:pt idx="1299">
                  <c:v>0.18147383292476701</c:v>
                </c:pt>
                <c:pt idx="1300">
                  <c:v>0.18147383292476701</c:v>
                </c:pt>
                <c:pt idx="1301">
                  <c:v>0.18147383292476701</c:v>
                </c:pt>
                <c:pt idx="1302">
                  <c:v>0.17995717020345603</c:v>
                </c:pt>
                <c:pt idx="1303">
                  <c:v>0.188670802333225</c:v>
                </c:pt>
                <c:pt idx="1304">
                  <c:v>0.18872035224647699</c:v>
                </c:pt>
                <c:pt idx="1305">
                  <c:v>0.14670513563617799</c:v>
                </c:pt>
                <c:pt idx="1306">
                  <c:v>0.0858340001545504</c:v>
                </c:pt>
                <c:pt idx="1307">
                  <c:v>0.0858340001545504</c:v>
                </c:pt>
                <c:pt idx="1308">
                  <c:v>0.0858340001545504</c:v>
                </c:pt>
                <c:pt idx="1309">
                  <c:v>0.0655596891011643</c:v>
                </c:pt>
                <c:pt idx="1310">
                  <c:v>0.0572842316226824</c:v>
                </c:pt>
                <c:pt idx="1311">
                  <c:v>0.124211444577101</c:v>
                </c:pt>
                <c:pt idx="1312">
                  <c:v>0.109962009063684</c:v>
                </c:pt>
                <c:pt idx="1313">
                  <c:v>0.136776079379051</c:v>
                </c:pt>
                <c:pt idx="1314">
                  <c:v>0.136776079379051</c:v>
                </c:pt>
                <c:pt idx="1315">
                  <c:v>0.136776079379051</c:v>
                </c:pt>
                <c:pt idx="1316">
                  <c:v>0.15154413040710898</c:v>
                </c:pt>
                <c:pt idx="1317">
                  <c:v>0.15069317802659898</c:v>
                </c:pt>
                <c:pt idx="1318">
                  <c:v>0.134593084351501</c:v>
                </c:pt>
                <c:pt idx="1319">
                  <c:v>0.138269833040051</c:v>
                </c:pt>
                <c:pt idx="1320">
                  <c:v>0.138644774538443</c:v>
                </c:pt>
                <c:pt idx="1321">
                  <c:v>0.138644774538443</c:v>
                </c:pt>
                <c:pt idx="1322">
                  <c:v>0.138644774538443</c:v>
                </c:pt>
                <c:pt idx="1323">
                  <c:v>0.122642640419879</c:v>
                </c:pt>
                <c:pt idx="1324">
                  <c:v>0.135709304991449</c:v>
                </c:pt>
                <c:pt idx="1325">
                  <c:v>0.159285734217711</c:v>
                </c:pt>
                <c:pt idx="1326">
                  <c:v>0.175135175821172</c:v>
                </c:pt>
                <c:pt idx="1327">
                  <c:v>0.18074945051095198</c:v>
                </c:pt>
                <c:pt idx="1328">
                  <c:v>0.18074945051095198</c:v>
                </c:pt>
                <c:pt idx="1329">
                  <c:v>0.18074945051095198</c:v>
                </c:pt>
                <c:pt idx="1330">
                  <c:v>0.178150671587895</c:v>
                </c:pt>
                <c:pt idx="1331">
                  <c:v>0.187673999057432</c:v>
                </c:pt>
                <c:pt idx="1332">
                  <c:v>0.191494525423137</c:v>
                </c:pt>
                <c:pt idx="1333">
                  <c:v>0.198201489727116</c:v>
                </c:pt>
                <c:pt idx="1334">
                  <c:v>0.216795561148917</c:v>
                </c:pt>
                <c:pt idx="1335">
                  <c:v>0.216795561148917</c:v>
                </c:pt>
                <c:pt idx="1336">
                  <c:v>0.216795561148917</c:v>
                </c:pt>
                <c:pt idx="1337">
                  <c:v>0.210563778439804</c:v>
                </c:pt>
                <c:pt idx="1338">
                  <c:v>0.20582782260981802</c:v>
                </c:pt>
                <c:pt idx="1339">
                  <c:v>0.20864107594818598</c:v>
                </c:pt>
                <c:pt idx="1340">
                  <c:v>0.210193605343105</c:v>
                </c:pt>
                <c:pt idx="1341">
                  <c:v>0.21024947857164603</c:v>
                </c:pt>
                <c:pt idx="1342">
                  <c:v>0.21024947857164603</c:v>
                </c:pt>
                <c:pt idx="1343">
                  <c:v>0.21024947857164603</c:v>
                </c:pt>
                <c:pt idx="1344">
                  <c:v>0.244969766216954</c:v>
                </c:pt>
                <c:pt idx="1345">
                  <c:v>0.254141268570223</c:v>
                </c:pt>
                <c:pt idx="1346">
                  <c:v>0.26592989782698</c:v>
                </c:pt>
                <c:pt idx="1347">
                  <c:v>0.270853272575708</c:v>
                </c:pt>
                <c:pt idx="1348">
                  <c:v>0.272843976621915</c:v>
                </c:pt>
                <c:pt idx="1349">
                  <c:v>0.272843976621915</c:v>
                </c:pt>
                <c:pt idx="1350">
                  <c:v>0.272843976621915</c:v>
                </c:pt>
                <c:pt idx="1351">
                  <c:v>0.275353710826388</c:v>
                </c:pt>
                <c:pt idx="1352">
                  <c:v>0.277477515476392</c:v>
                </c:pt>
                <c:pt idx="1353">
                  <c:v>0.26581835869171</c:v>
                </c:pt>
                <c:pt idx="1354">
                  <c:v>0.265638921662758</c:v>
                </c:pt>
                <c:pt idx="1355">
                  <c:v>0.264166729470287</c:v>
                </c:pt>
                <c:pt idx="1356">
                  <c:v>0.264166729470287</c:v>
                </c:pt>
                <c:pt idx="1357">
                  <c:v>0.264166729470287</c:v>
                </c:pt>
                <c:pt idx="1358">
                  <c:v>0.268137875132968</c:v>
                </c:pt>
                <c:pt idx="1359">
                  <c:v>0.28412228323654104</c:v>
                </c:pt>
                <c:pt idx="1360">
                  <c:v>0.268296061676111</c:v>
                </c:pt>
                <c:pt idx="1361">
                  <c:v>0.277964203431867</c:v>
                </c:pt>
                <c:pt idx="1362">
                  <c:v>0.274832814771806</c:v>
                </c:pt>
                <c:pt idx="1363">
                  <c:v>0.274832814771806</c:v>
                </c:pt>
                <c:pt idx="1364">
                  <c:v>0.274832814771806</c:v>
                </c:pt>
                <c:pt idx="1365">
                  <c:v>0.28609070018787497</c:v>
                </c:pt>
                <c:pt idx="1366">
                  <c:v>0.284708796644864</c:v>
                </c:pt>
                <c:pt idx="1367">
                  <c:v>0.292139417736313</c:v>
                </c:pt>
                <c:pt idx="1368">
                  <c:v>0.287585283136125</c:v>
                </c:pt>
                <c:pt idx="1369">
                  <c:v>0.29927242836553203</c:v>
                </c:pt>
                <c:pt idx="1370">
                  <c:v>0.29927242836553203</c:v>
                </c:pt>
                <c:pt idx="1371">
                  <c:v>0.29927242836553203</c:v>
                </c:pt>
                <c:pt idx="1372">
                  <c:v>0.297084975919007</c:v>
                </c:pt>
                <c:pt idx="1373">
                  <c:v>0.308441753839766</c:v>
                </c:pt>
                <c:pt idx="1374">
                  <c:v>0.306432598152224</c:v>
                </c:pt>
                <c:pt idx="1375">
                  <c:v>0.31031501007904</c:v>
                </c:pt>
                <c:pt idx="1376">
                  <c:v>0.289445789083913</c:v>
                </c:pt>
                <c:pt idx="1377">
                  <c:v>0.289445789083913</c:v>
                </c:pt>
                <c:pt idx="1378">
                  <c:v>0.289445789083913</c:v>
                </c:pt>
                <c:pt idx="1379">
                  <c:v>0.300266743779571</c:v>
                </c:pt>
                <c:pt idx="1380">
                  <c:v>0.28645838542282</c:v>
                </c:pt>
                <c:pt idx="1381">
                  <c:v>0.284214852425942</c:v>
                </c:pt>
                <c:pt idx="1382">
                  <c:v>0.283060484572445</c:v>
                </c:pt>
                <c:pt idx="1383">
                  <c:v>0.279349527784789</c:v>
                </c:pt>
                <c:pt idx="1384">
                  <c:v>0.279349527784789</c:v>
                </c:pt>
                <c:pt idx="1385">
                  <c:v>0.279349527784789</c:v>
                </c:pt>
                <c:pt idx="1386">
                  <c:v>0.286680427084296</c:v>
                </c:pt>
                <c:pt idx="1387">
                  <c:v>0.30529212086018204</c:v>
                </c:pt>
                <c:pt idx="1388">
                  <c:v>0.30204660154219204</c:v>
                </c:pt>
                <c:pt idx="1389">
                  <c:v>0.31612914299633</c:v>
                </c:pt>
                <c:pt idx="1390">
                  <c:v>0.32512887922771905</c:v>
                </c:pt>
                <c:pt idx="1391">
                  <c:v>0.32512887922771905</c:v>
                </c:pt>
                <c:pt idx="1392">
                  <c:v>0.32512887922771905</c:v>
                </c:pt>
                <c:pt idx="1393">
                  <c:v>0.33083105836611404</c:v>
                </c:pt>
                <c:pt idx="1394">
                  <c:v>0.332533481431666</c:v>
                </c:pt>
                <c:pt idx="1395">
                  <c:v>0.34425638967377403</c:v>
                </c:pt>
                <c:pt idx="1396">
                  <c:v>0.356168479070035</c:v>
                </c:pt>
                <c:pt idx="1397">
                  <c:v>0.356344495289076</c:v>
                </c:pt>
                <c:pt idx="1398">
                  <c:v>0.356344495289076</c:v>
                </c:pt>
                <c:pt idx="1399">
                  <c:v>0.356344495289076</c:v>
                </c:pt>
                <c:pt idx="1400">
                  <c:v>0.34161593906634996</c:v>
                </c:pt>
                <c:pt idx="1401">
                  <c:v>0.338026265539164</c:v>
                </c:pt>
                <c:pt idx="1402">
                  <c:v>0.34132662147663095</c:v>
                </c:pt>
                <c:pt idx="1403">
                  <c:v>0.34013638694952497</c:v>
                </c:pt>
                <c:pt idx="1404">
                  <c:v>0.328227200058644</c:v>
                </c:pt>
                <c:pt idx="1405">
                  <c:v>0.328227200058644</c:v>
                </c:pt>
                <c:pt idx="1406">
                  <c:v>0.328227200058644</c:v>
                </c:pt>
                <c:pt idx="1407">
                  <c:v>0.328225956127767</c:v>
                </c:pt>
                <c:pt idx="1408">
                  <c:v>0.32736453399571197</c:v>
                </c:pt>
                <c:pt idx="1409">
                  <c:v>0.33072221441441</c:v>
                </c:pt>
                <c:pt idx="1410">
                  <c:v>0.34212543242122995</c:v>
                </c:pt>
                <c:pt idx="1411">
                  <c:v>0.344013719491929</c:v>
                </c:pt>
                <c:pt idx="1412">
                  <c:v>0.344013719491929</c:v>
                </c:pt>
                <c:pt idx="1413">
                  <c:v>0.344013719491929</c:v>
                </c:pt>
                <c:pt idx="1414">
                  <c:v>0.34595798345207496</c:v>
                </c:pt>
                <c:pt idx="1415">
                  <c:v>0.35446636698720296</c:v>
                </c:pt>
                <c:pt idx="1416">
                  <c:v>0.368690198256742</c:v>
                </c:pt>
                <c:pt idx="1417">
                  <c:v>0.36986996303230396</c:v>
                </c:pt>
                <c:pt idx="1418">
                  <c:v>0.371792769184828</c:v>
                </c:pt>
                <c:pt idx="1419">
                  <c:v>0.371792769184828</c:v>
                </c:pt>
                <c:pt idx="1420">
                  <c:v>0.371792769184828</c:v>
                </c:pt>
                <c:pt idx="1421">
                  <c:v>0.364429942326155</c:v>
                </c:pt>
                <c:pt idx="1422">
                  <c:v>0.356594940038901</c:v>
                </c:pt>
                <c:pt idx="1423">
                  <c:v>0.349759954515537</c:v>
                </c:pt>
                <c:pt idx="1424">
                  <c:v>0.346504898394159</c:v>
                </c:pt>
                <c:pt idx="1425">
                  <c:v>0.324536768130452</c:v>
                </c:pt>
                <c:pt idx="1426">
                  <c:v>0.324536768130452</c:v>
                </c:pt>
                <c:pt idx="1427">
                  <c:v>0.324536768130452</c:v>
                </c:pt>
                <c:pt idx="1428">
                  <c:v>0.34012353299713405</c:v>
                </c:pt>
                <c:pt idx="1429">
                  <c:v>0.336957314272528</c:v>
                </c:pt>
                <c:pt idx="1430">
                  <c:v>0.339096875380302</c:v>
                </c:pt>
                <c:pt idx="1431">
                  <c:v>0.35111044880391296</c:v>
                </c:pt>
                <c:pt idx="1432">
                  <c:v>0.36021125441902796</c:v>
                </c:pt>
                <c:pt idx="1433">
                  <c:v>0.36021125441902796</c:v>
                </c:pt>
                <c:pt idx="1434">
                  <c:v>0.36021125441902796</c:v>
                </c:pt>
                <c:pt idx="1435">
                  <c:v>0.35339430589337506</c:v>
                </c:pt>
                <c:pt idx="1436">
                  <c:v>0.37039137739141703</c:v>
                </c:pt>
                <c:pt idx="1437">
                  <c:v>0.372023622023346</c:v>
                </c:pt>
                <c:pt idx="1438">
                  <c:v>0.37327843729513</c:v>
                </c:pt>
                <c:pt idx="1439">
                  <c:v>0.369553071641486</c:v>
                </c:pt>
                <c:pt idx="1440">
                  <c:v>0.369553071641486</c:v>
                </c:pt>
                <c:pt idx="1441">
                  <c:v>0.369553071641486</c:v>
                </c:pt>
                <c:pt idx="1442">
                  <c:v>0.36619207407378396</c:v>
                </c:pt>
                <c:pt idx="1443">
                  <c:v>0.359563581075938</c:v>
                </c:pt>
                <c:pt idx="1444">
                  <c:v>0.353353567157166</c:v>
                </c:pt>
                <c:pt idx="1445">
                  <c:v>0.349934623142794</c:v>
                </c:pt>
                <c:pt idx="1446">
                  <c:v>0.374161420895713</c:v>
                </c:pt>
                <c:pt idx="1447">
                  <c:v>0.374161420895713</c:v>
                </c:pt>
                <c:pt idx="1448">
                  <c:v>0.374161420895713</c:v>
                </c:pt>
                <c:pt idx="1449">
                  <c:v>0.36349699416869496</c:v>
                </c:pt>
                <c:pt idx="1450">
                  <c:v>0.366978549370523</c:v>
                </c:pt>
                <c:pt idx="1451">
                  <c:v>0.369903652826878</c:v>
                </c:pt>
                <c:pt idx="1452">
                  <c:v>0.371424047340819</c:v>
                </c:pt>
                <c:pt idx="1453">
                  <c:v>0.369634549113904</c:v>
                </c:pt>
                <c:pt idx="1454">
                  <c:v>0.369634549113904</c:v>
                </c:pt>
                <c:pt idx="1455">
                  <c:v>0.369634549113904</c:v>
                </c:pt>
                <c:pt idx="1456">
                  <c:v>0.370664834862459</c:v>
                </c:pt>
                <c:pt idx="1457">
                  <c:v>0.35741873326193796</c:v>
                </c:pt>
                <c:pt idx="1458">
                  <c:v>0.36754205005762797</c:v>
                </c:pt>
                <c:pt idx="1459">
                  <c:v>0.37620571763051996</c:v>
                </c:pt>
                <c:pt idx="1460">
                  <c:v>0.377475771055542</c:v>
                </c:pt>
                <c:pt idx="1461">
                  <c:v>0.377475771055542</c:v>
                </c:pt>
                <c:pt idx="1462">
                  <c:v>0.377475771055542</c:v>
                </c:pt>
                <c:pt idx="1463">
                  <c:v>0.381284894721544</c:v>
                </c:pt>
                <c:pt idx="1464">
                  <c:v>0.38859775702334</c:v>
                </c:pt>
                <c:pt idx="1465">
                  <c:v>0.38382334299708604</c:v>
                </c:pt>
                <c:pt idx="1466">
                  <c:v>0.397753606579745</c:v>
                </c:pt>
                <c:pt idx="1467">
                  <c:v>0.396985064619811</c:v>
                </c:pt>
                <c:pt idx="1468">
                  <c:v>0.396985064619811</c:v>
                </c:pt>
                <c:pt idx="1469">
                  <c:v>0.396985064619811</c:v>
                </c:pt>
                <c:pt idx="1470">
                  <c:v>0.401343072785119</c:v>
                </c:pt>
                <c:pt idx="1471">
                  <c:v>0.405684806188124</c:v>
                </c:pt>
                <c:pt idx="1472">
                  <c:v>0.403061355969347</c:v>
                </c:pt>
                <c:pt idx="1473">
                  <c:v>0.411205267757627</c:v>
                </c:pt>
                <c:pt idx="1474">
                  <c:v>0.413233808034664</c:v>
                </c:pt>
                <c:pt idx="1475">
                  <c:v>0.413233808034664</c:v>
                </c:pt>
                <c:pt idx="1476">
                  <c:v>0.413233808034664</c:v>
                </c:pt>
                <c:pt idx="1477">
                  <c:v>0.419837111432259</c:v>
                </c:pt>
                <c:pt idx="1478">
                  <c:v>0.42068930774364505</c:v>
                </c:pt>
                <c:pt idx="1479">
                  <c:v>0.41917451091865</c:v>
                </c:pt>
                <c:pt idx="1480">
                  <c:v>0.404374946975051</c:v>
                </c:pt>
                <c:pt idx="1481">
                  <c:v>0.408008780048357</c:v>
                </c:pt>
                <c:pt idx="1482">
                  <c:v>0.408008780048357</c:v>
                </c:pt>
                <c:pt idx="1483">
                  <c:v>0.408008780048357</c:v>
                </c:pt>
                <c:pt idx="1484">
                  <c:v>0.417815101792324</c:v>
                </c:pt>
                <c:pt idx="1485">
                  <c:v>0.421500247014291</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698156074667</c:v>
                </c:pt>
                <c:pt idx="2">
                  <c:v>-0.006838369229432595</c:v>
                </c:pt>
                <c:pt idx="3">
                  <c:v>-0.009497704766111559</c:v>
                </c:pt>
                <c:pt idx="4">
                  <c:v>-0.01529117933590407</c:v>
                </c:pt>
                <c:pt idx="5">
                  <c:v>-0.01529117933590407</c:v>
                </c:pt>
                <c:pt idx="6">
                  <c:v>-0.01529117933590407</c:v>
                </c:pt>
                <c:pt idx="7">
                  <c:v>-0.011682003258153162</c:v>
                </c:pt>
                <c:pt idx="8">
                  <c:v>-0.0175705319465137</c:v>
                </c:pt>
                <c:pt idx="9">
                  <c:v>-0.011682003258153162</c:v>
                </c:pt>
                <c:pt idx="10">
                  <c:v>-0.01424644037506595</c:v>
                </c:pt>
                <c:pt idx="11">
                  <c:v>-0.024028918249876963</c:v>
                </c:pt>
                <c:pt idx="12">
                  <c:v>-0.024028918249876963</c:v>
                </c:pt>
                <c:pt idx="13">
                  <c:v>-0.024028918249876963</c:v>
                </c:pt>
                <c:pt idx="14">
                  <c:v>-0.041219545119722256</c:v>
                </c:pt>
                <c:pt idx="15">
                  <c:v>-0.038940192509112626</c:v>
                </c:pt>
                <c:pt idx="16">
                  <c:v>-0.030107477325972742</c:v>
                </c:pt>
                <c:pt idx="17">
                  <c:v>-0.019470135179256776</c:v>
                </c:pt>
                <c:pt idx="18">
                  <c:v>-0.022224524834503767</c:v>
                </c:pt>
                <c:pt idx="19">
                  <c:v>-0.022224524834503767</c:v>
                </c:pt>
                <c:pt idx="20">
                  <c:v>-0.022224524834503767</c:v>
                </c:pt>
                <c:pt idx="21">
                  <c:v>-0.023269108096540037</c:v>
                </c:pt>
                <c:pt idx="22">
                  <c:v>-0.04254921288806168</c:v>
                </c:pt>
                <c:pt idx="23">
                  <c:v>-0.044163809463902415</c:v>
                </c:pt>
                <c:pt idx="24">
                  <c:v>-0.051002100843934084</c:v>
                </c:pt>
                <c:pt idx="25">
                  <c:v>-0.04302409423389708</c:v>
                </c:pt>
                <c:pt idx="26">
                  <c:v>-0.04302409423389708</c:v>
                </c:pt>
                <c:pt idx="27">
                  <c:v>-0.04302409423389708</c:v>
                </c:pt>
                <c:pt idx="28">
                  <c:v>-0.05480115161061827</c:v>
                </c:pt>
                <c:pt idx="29">
                  <c:v>-0.046633192462247175</c:v>
                </c:pt>
                <c:pt idx="30">
                  <c:v>-0.04587330445950932</c:v>
                </c:pt>
                <c:pt idx="31">
                  <c:v>-0.03542591485112767</c:v>
                </c:pt>
                <c:pt idx="32">
                  <c:v>-0.03647088736016868</c:v>
                </c:pt>
                <c:pt idx="33">
                  <c:v>-0.03647088736016868</c:v>
                </c:pt>
                <c:pt idx="34">
                  <c:v>-0.03647088736016868</c:v>
                </c:pt>
                <c:pt idx="35">
                  <c:v>-0.042169307811393164</c:v>
                </c:pt>
                <c:pt idx="36">
                  <c:v>-0.04340392146116456</c:v>
                </c:pt>
                <c:pt idx="37">
                  <c:v>-0.03618588070326634</c:v>
                </c:pt>
                <c:pt idx="38">
                  <c:v>-0.02374391159297451</c:v>
                </c:pt>
                <c:pt idx="39">
                  <c:v>-0.015766138531140395</c:v>
                </c:pt>
                <c:pt idx="40">
                  <c:v>-0.015766138531140395</c:v>
                </c:pt>
                <c:pt idx="41">
                  <c:v>-0.015766138531140395</c:v>
                </c:pt>
                <c:pt idx="42">
                  <c:v>-0.015196203066736746</c:v>
                </c:pt>
                <c:pt idx="43">
                  <c:v>-0.006838369229432373</c:v>
                </c:pt>
                <c:pt idx="44">
                  <c:v>-0.003894182734652918</c:v>
                </c:pt>
                <c:pt idx="45">
                  <c:v>-0.003703996648115715</c:v>
                </c:pt>
                <c:pt idx="46">
                  <c:v>-0.00360925392715139</c:v>
                </c:pt>
                <c:pt idx="47">
                  <c:v>-0.00360925392715139</c:v>
                </c:pt>
                <c:pt idx="48">
                  <c:v>-0.00360925392715139</c:v>
                </c:pt>
                <c:pt idx="49">
                  <c:v>-0.00019010823713550007</c:v>
                </c:pt>
                <c:pt idx="50">
                  <c:v>-0.0007598880027371857</c:v>
                </c:pt>
                <c:pt idx="51">
                  <c:v>-0.00569857615002578</c:v>
                </c:pt>
                <c:pt idx="52">
                  <c:v>0.0029442643441808247</c:v>
                </c:pt>
                <c:pt idx="53">
                  <c:v>0.00018979683953279647</c:v>
                </c:pt>
                <c:pt idx="54">
                  <c:v>0.00018979683953279647</c:v>
                </c:pt>
                <c:pt idx="55">
                  <c:v>0.00018979683953279647</c:v>
                </c:pt>
                <c:pt idx="56">
                  <c:v>0.005223616954790344</c:v>
                </c:pt>
                <c:pt idx="57">
                  <c:v>0.005793552419193881</c:v>
                </c:pt>
                <c:pt idx="58">
                  <c:v>0.012251860873156106</c:v>
                </c:pt>
                <c:pt idx="59">
                  <c:v>0.014436081515796673</c:v>
                </c:pt>
                <c:pt idx="60">
                  <c:v>0.016430661017706738</c:v>
                </c:pt>
                <c:pt idx="61">
                  <c:v>0.016430661017706738</c:v>
                </c:pt>
                <c:pt idx="62">
                  <c:v>0.016430661017706738</c:v>
                </c:pt>
                <c:pt idx="63">
                  <c:v>0.018330342099850627</c:v>
                </c:pt>
                <c:pt idx="64">
                  <c:v>0.015765982832338876</c:v>
                </c:pt>
                <c:pt idx="65">
                  <c:v>0.006553284723129549</c:v>
                </c:pt>
                <c:pt idx="66">
                  <c:v>0.009877454143978337</c:v>
                </c:pt>
                <c:pt idx="67">
                  <c:v>0.016905542363542247</c:v>
                </c:pt>
                <c:pt idx="68">
                  <c:v>0.016905542363542247</c:v>
                </c:pt>
                <c:pt idx="69">
                  <c:v>0.016905542363542247</c:v>
                </c:pt>
                <c:pt idx="70">
                  <c:v>0.016335762597940562</c:v>
                </c:pt>
                <c:pt idx="71">
                  <c:v>0.018425240519617025</c:v>
                </c:pt>
                <c:pt idx="72">
                  <c:v>0.015575874595202821</c:v>
                </c:pt>
                <c:pt idx="73">
                  <c:v>0.015860881252105052</c:v>
                </c:pt>
                <c:pt idx="74">
                  <c:v>0.012251860873156106</c:v>
                </c:pt>
                <c:pt idx="75">
                  <c:v>0.012251860873156106</c:v>
                </c:pt>
                <c:pt idx="76">
                  <c:v>0.012251860873156106</c:v>
                </c:pt>
                <c:pt idx="77">
                  <c:v>0.006173457495862289</c:v>
                </c:pt>
                <c:pt idx="78">
                  <c:v>0.005888450838960058</c:v>
                </c:pt>
                <c:pt idx="79">
                  <c:v>0.0062682780662275395</c:v>
                </c:pt>
                <c:pt idx="80">
                  <c:v>0.0062682780662275395</c:v>
                </c:pt>
                <c:pt idx="81">
                  <c:v>-0.018235521529485044</c:v>
                </c:pt>
                <c:pt idx="82">
                  <c:v>-0.018235521529485044</c:v>
                </c:pt>
                <c:pt idx="83">
                  <c:v>-0.018235521529485044</c:v>
                </c:pt>
                <c:pt idx="84">
                  <c:v>-0.009402572798142161</c:v>
                </c:pt>
                <c:pt idx="85">
                  <c:v>-0.02288928086927222</c:v>
                </c:pt>
                <c:pt idx="86">
                  <c:v>-0.03371641985552043</c:v>
                </c:pt>
                <c:pt idx="87">
                  <c:v>-0.019755141836158785</c:v>
                </c:pt>
                <c:pt idx="88">
                  <c:v>-0.028112897824062233</c:v>
                </c:pt>
                <c:pt idx="89">
                  <c:v>-0.028112897824062233</c:v>
                </c:pt>
                <c:pt idx="90">
                  <c:v>-0.028112897824062233</c:v>
                </c:pt>
                <c:pt idx="91">
                  <c:v>-0.018330264250449257</c:v>
                </c:pt>
                <c:pt idx="92">
                  <c:v>0.0029442643441806027</c:v>
                </c:pt>
                <c:pt idx="93">
                  <c:v>0.005793552419193881</c:v>
                </c:pt>
                <c:pt idx="94">
                  <c:v>-0.002184609889644973</c:v>
                </c:pt>
                <c:pt idx="95">
                  <c:v>0.003229037452880057</c:v>
                </c:pt>
                <c:pt idx="96">
                  <c:v>0.003229037452880057</c:v>
                </c:pt>
                <c:pt idx="97">
                  <c:v>0.003229037452880057</c:v>
                </c:pt>
                <c:pt idx="98">
                  <c:v>-0.0067732092808315825</c:v>
                </c:pt>
                <c:pt idx="99">
                  <c:v>-0.012143494507023789</c:v>
                </c:pt>
                <c:pt idx="100">
                  <c:v>0.000131565487617058</c:v>
                </c:pt>
                <c:pt idx="101">
                  <c:v>-0.004663256966703666</c:v>
                </c:pt>
                <c:pt idx="102">
                  <c:v>-0.014445112046307051</c:v>
                </c:pt>
                <c:pt idx="103">
                  <c:v>-0.014445112046307051</c:v>
                </c:pt>
                <c:pt idx="104">
                  <c:v>-0.014445112046307051</c:v>
                </c:pt>
                <c:pt idx="105">
                  <c:v>-0.023747259117215536</c:v>
                </c:pt>
                <c:pt idx="106">
                  <c:v>-0.007828146513195078</c:v>
                </c:pt>
                <c:pt idx="107">
                  <c:v>0.001474078407114332</c:v>
                </c:pt>
                <c:pt idx="108">
                  <c:v>0.007899456564471885</c:v>
                </c:pt>
                <c:pt idx="109">
                  <c:v>0.007899456564471885</c:v>
                </c:pt>
                <c:pt idx="110">
                  <c:v>0.007899456564471885</c:v>
                </c:pt>
                <c:pt idx="111">
                  <c:v>0.007899456564471885</c:v>
                </c:pt>
                <c:pt idx="112">
                  <c:v>0.01892775840279204</c:v>
                </c:pt>
                <c:pt idx="113">
                  <c:v>0.01787289901982958</c:v>
                </c:pt>
                <c:pt idx="114">
                  <c:v>0.01796873163240731</c:v>
                </c:pt>
                <c:pt idx="115">
                  <c:v>0.016730848307795698</c:v>
                </c:pt>
                <c:pt idx="116">
                  <c:v>0.015099436261348353</c:v>
                </c:pt>
                <c:pt idx="117">
                  <c:v>0.015099436261348353</c:v>
                </c:pt>
                <c:pt idx="118">
                  <c:v>0.015099436261348353</c:v>
                </c:pt>
                <c:pt idx="119">
                  <c:v>0.02047338040938551</c:v>
                </c:pt>
                <c:pt idx="120">
                  <c:v>0.019609797004573437</c:v>
                </c:pt>
                <c:pt idx="121">
                  <c:v>0.0030081787023661377</c:v>
                </c:pt>
                <c:pt idx="122">
                  <c:v>0.000896980797822744</c:v>
                </c:pt>
                <c:pt idx="123">
                  <c:v>0.0007049263256626581</c:v>
                </c:pt>
                <c:pt idx="124">
                  <c:v>0.0007049263256626581</c:v>
                </c:pt>
                <c:pt idx="125">
                  <c:v>0.0007049263256626581</c:v>
                </c:pt>
                <c:pt idx="126">
                  <c:v>-0.0021738666723131184</c:v>
                </c:pt>
                <c:pt idx="127">
                  <c:v>0.009725492113310974</c:v>
                </c:pt>
                <c:pt idx="128">
                  <c:v>0.015867264902983402</c:v>
                </c:pt>
                <c:pt idx="129">
                  <c:v>0.0022404279101313485</c:v>
                </c:pt>
                <c:pt idx="130">
                  <c:v>0.002528314994868941</c:v>
                </c:pt>
                <c:pt idx="131">
                  <c:v>0.002528314994868941</c:v>
                </c:pt>
                <c:pt idx="132">
                  <c:v>0.002528314994868941</c:v>
                </c:pt>
                <c:pt idx="133">
                  <c:v>0.002528314994868941</c:v>
                </c:pt>
                <c:pt idx="134">
                  <c:v>-0.014840976250171889</c:v>
                </c:pt>
                <c:pt idx="135">
                  <c:v>-0.02079077241708538</c:v>
                </c:pt>
                <c:pt idx="136">
                  <c:v>-0.028467813243023943</c:v>
                </c:pt>
                <c:pt idx="137">
                  <c:v>-0.0449735210832527</c:v>
                </c:pt>
                <c:pt idx="138">
                  <c:v>-0.0449735210832527</c:v>
                </c:pt>
                <c:pt idx="139">
                  <c:v>-0.0449735210832527</c:v>
                </c:pt>
                <c:pt idx="140">
                  <c:v>-0.046508944818320574</c:v>
                </c:pt>
                <c:pt idx="141">
                  <c:v>-0.0561052847754443</c:v>
                </c:pt>
                <c:pt idx="142">
                  <c:v>-0.060807310743824616</c:v>
                </c:pt>
                <c:pt idx="143">
                  <c:v>-0.06560563642118833</c:v>
                </c:pt>
                <c:pt idx="144">
                  <c:v>-0.050635196617225486</c:v>
                </c:pt>
                <c:pt idx="145">
                  <c:v>-0.050635196617225486</c:v>
                </c:pt>
                <c:pt idx="146">
                  <c:v>-0.050635196617225486</c:v>
                </c:pt>
                <c:pt idx="147">
                  <c:v>-0.031058952704464682</c:v>
                </c:pt>
                <c:pt idx="148">
                  <c:v>-0.023573732802483205</c:v>
                </c:pt>
                <c:pt idx="149">
                  <c:v>-0.01733604955083201</c:v>
                </c:pt>
                <c:pt idx="150">
                  <c:v>-0.03614485406896206</c:v>
                </c:pt>
                <c:pt idx="151">
                  <c:v>-0.03182646994849592</c:v>
                </c:pt>
                <c:pt idx="152">
                  <c:v>-0.03182646994849592</c:v>
                </c:pt>
                <c:pt idx="153">
                  <c:v>-0.03182646994849592</c:v>
                </c:pt>
                <c:pt idx="154">
                  <c:v>-0.033745769079681076</c:v>
                </c:pt>
                <c:pt idx="155">
                  <c:v>-0.026260627027100525</c:v>
                </c:pt>
                <c:pt idx="156">
                  <c:v>-0.010906545375223287</c:v>
                </c:pt>
                <c:pt idx="157">
                  <c:v>-0.02520506699952929</c:v>
                </c:pt>
                <c:pt idx="158">
                  <c:v>-0.04372590658352071</c:v>
                </c:pt>
                <c:pt idx="159">
                  <c:v>-0.04372590658352071</c:v>
                </c:pt>
                <c:pt idx="160">
                  <c:v>-0.04372590658352071</c:v>
                </c:pt>
                <c:pt idx="161">
                  <c:v>-0.04727661776115333</c:v>
                </c:pt>
                <c:pt idx="162">
                  <c:v>-0.030579011147566337</c:v>
                </c:pt>
                <c:pt idx="163">
                  <c:v>-0.028371824931643475</c:v>
                </c:pt>
                <c:pt idx="164">
                  <c:v>-0.04718070729917456</c:v>
                </c:pt>
                <c:pt idx="165">
                  <c:v>-0.05428189610623679</c:v>
                </c:pt>
                <c:pt idx="166">
                  <c:v>-0.05428189610623679</c:v>
                </c:pt>
                <c:pt idx="167">
                  <c:v>-0.05428189610623679</c:v>
                </c:pt>
                <c:pt idx="168">
                  <c:v>-0.05428189610623679</c:v>
                </c:pt>
                <c:pt idx="169">
                  <c:v>-0.06522168317566923</c:v>
                </c:pt>
                <c:pt idx="170">
                  <c:v>-0.07846480047120596</c:v>
                </c:pt>
                <c:pt idx="171">
                  <c:v>-0.07462604651003368</c:v>
                </c:pt>
                <c:pt idx="172">
                  <c:v>-0.054090075182279485</c:v>
                </c:pt>
                <c:pt idx="173">
                  <c:v>-0.054090075182279485</c:v>
                </c:pt>
                <c:pt idx="174">
                  <c:v>-0.054090075182279485</c:v>
                </c:pt>
                <c:pt idx="175">
                  <c:v>-0.060711555980646814</c:v>
                </c:pt>
                <c:pt idx="176">
                  <c:v>-0.07664133395259831</c:v>
                </c:pt>
                <c:pt idx="177">
                  <c:v>-0.06339837235586354</c:v>
                </c:pt>
                <c:pt idx="178">
                  <c:v>-0.07289880185100861</c:v>
                </c:pt>
                <c:pt idx="179">
                  <c:v>-0.08662162715524013</c:v>
                </c:pt>
                <c:pt idx="180">
                  <c:v>-0.08662162715524013</c:v>
                </c:pt>
                <c:pt idx="181">
                  <c:v>-0.08662162715524013</c:v>
                </c:pt>
                <c:pt idx="182">
                  <c:v>-0.11502661593169206</c:v>
                </c:pt>
                <c:pt idx="183">
                  <c:v>-0.1160822538086641</c:v>
                </c:pt>
                <c:pt idx="184">
                  <c:v>-0.08930852137985767</c:v>
                </c:pt>
                <c:pt idx="185">
                  <c:v>-0.09650585419710134</c:v>
                </c:pt>
                <c:pt idx="186">
                  <c:v>-0.10898106500160176</c:v>
                </c:pt>
                <c:pt idx="187">
                  <c:v>-0.10898106500160176</c:v>
                </c:pt>
                <c:pt idx="188">
                  <c:v>-0.10898106500160176</c:v>
                </c:pt>
                <c:pt idx="189">
                  <c:v>-0.11473872884695424</c:v>
                </c:pt>
                <c:pt idx="190">
                  <c:v>-0.10092007093014499</c:v>
                </c:pt>
                <c:pt idx="191">
                  <c:v>-0.07049987256052948</c:v>
                </c:pt>
                <c:pt idx="192">
                  <c:v>-0.06099936521598337</c:v>
                </c:pt>
                <c:pt idx="193">
                  <c:v>-0.050635196617224265</c:v>
                </c:pt>
                <c:pt idx="194">
                  <c:v>-0.050635196617224265</c:v>
                </c:pt>
                <c:pt idx="195">
                  <c:v>-0.050635196617224265</c:v>
                </c:pt>
                <c:pt idx="196">
                  <c:v>-0.05399408687089957</c:v>
                </c:pt>
                <c:pt idx="197">
                  <c:v>-0.04257443609397038</c:v>
                </c:pt>
                <c:pt idx="198">
                  <c:v>-0.053322324390044806</c:v>
                </c:pt>
                <c:pt idx="199">
                  <c:v>-0.04238245947121144</c:v>
                </c:pt>
                <c:pt idx="200">
                  <c:v>-0.04055914865140575</c:v>
                </c:pt>
                <c:pt idx="201">
                  <c:v>-0.04055914865140575</c:v>
                </c:pt>
                <c:pt idx="202">
                  <c:v>-0.04055914865140575</c:v>
                </c:pt>
                <c:pt idx="203">
                  <c:v>-0.0368164608510142</c:v>
                </c:pt>
                <c:pt idx="204">
                  <c:v>-0.021366468737158528</c:v>
                </c:pt>
                <c:pt idx="205">
                  <c:v>-0.02683647904597619</c:v>
                </c:pt>
                <c:pt idx="206">
                  <c:v>-0.04247852563199195</c:v>
                </c:pt>
                <c:pt idx="207">
                  <c:v>-0.03624099807914272</c:v>
                </c:pt>
                <c:pt idx="208">
                  <c:v>-0.03624099807914272</c:v>
                </c:pt>
                <c:pt idx="209">
                  <c:v>-0.03624099807914272</c:v>
                </c:pt>
                <c:pt idx="210">
                  <c:v>-0.026932389507954735</c:v>
                </c:pt>
                <c:pt idx="211">
                  <c:v>-0.04084719143494542</c:v>
                </c:pt>
                <c:pt idx="212">
                  <c:v>-0.05188288896635651</c:v>
                </c:pt>
                <c:pt idx="213">
                  <c:v>-0.0498676793731927</c:v>
                </c:pt>
                <c:pt idx="214">
                  <c:v>-0.0507313406274057</c:v>
                </c:pt>
                <c:pt idx="215">
                  <c:v>-0.0507313406274057</c:v>
                </c:pt>
                <c:pt idx="216">
                  <c:v>-0.0507313406274057</c:v>
                </c:pt>
                <c:pt idx="217">
                  <c:v>-0.06426211145947724</c:v>
                </c:pt>
                <c:pt idx="218">
                  <c:v>-0.06944407898475535</c:v>
                </c:pt>
                <c:pt idx="219">
                  <c:v>-0.058216482679986026</c:v>
                </c:pt>
                <c:pt idx="220">
                  <c:v>-0.06810063187244642</c:v>
                </c:pt>
                <c:pt idx="221">
                  <c:v>-0.06810063187244642</c:v>
                </c:pt>
                <c:pt idx="222">
                  <c:v>-0.06810063187244642</c:v>
                </c:pt>
                <c:pt idx="223">
                  <c:v>-0.06810063187244642</c:v>
                </c:pt>
                <c:pt idx="224">
                  <c:v>-0.06963605560751429</c:v>
                </c:pt>
                <c:pt idx="225">
                  <c:v>-0.059751828565652976</c:v>
                </c:pt>
                <c:pt idx="226">
                  <c:v>-0.058888167311439976</c:v>
                </c:pt>
                <c:pt idx="227">
                  <c:v>-0.07347457602048368</c:v>
                </c:pt>
                <c:pt idx="228">
                  <c:v>-0.09429866798117859</c:v>
                </c:pt>
                <c:pt idx="229">
                  <c:v>-0.09429866798117859</c:v>
                </c:pt>
                <c:pt idx="230">
                  <c:v>-0.09429866798117859</c:v>
                </c:pt>
                <c:pt idx="231">
                  <c:v>-0.09285923255749029</c:v>
                </c:pt>
                <c:pt idx="232">
                  <c:v>-0.11790556462846968</c:v>
                </c:pt>
                <c:pt idx="233">
                  <c:v>-0.11454690792299704</c:v>
                </c:pt>
                <c:pt idx="234">
                  <c:v>-0.09602599048960458</c:v>
                </c:pt>
                <c:pt idx="235">
                  <c:v>-0.11972887544827515</c:v>
                </c:pt>
                <c:pt idx="236">
                  <c:v>-0.11972887544827515</c:v>
                </c:pt>
                <c:pt idx="237">
                  <c:v>-0.11972887544827515</c:v>
                </c:pt>
                <c:pt idx="238">
                  <c:v>-0.11684992675149741</c:v>
                </c:pt>
                <c:pt idx="239">
                  <c:v>-0.11147621615166314</c:v>
                </c:pt>
                <c:pt idx="240">
                  <c:v>-0.09055598018078692</c:v>
                </c:pt>
                <c:pt idx="241">
                  <c:v>-0.12155218626808073</c:v>
                </c:pt>
                <c:pt idx="242">
                  <c:v>-0.13028494282039238</c:v>
                </c:pt>
                <c:pt idx="243">
                  <c:v>-0.13028494282039238</c:v>
                </c:pt>
                <c:pt idx="244">
                  <c:v>-0.13028494282039238</c:v>
                </c:pt>
                <c:pt idx="245">
                  <c:v>-0.1578262703426312</c:v>
                </c:pt>
                <c:pt idx="246">
                  <c:v>-0.1548514111838749</c:v>
                </c:pt>
                <c:pt idx="247">
                  <c:v>-0.16540747855599214</c:v>
                </c:pt>
                <c:pt idx="248">
                  <c:v>-0.16655902689494273</c:v>
                </c:pt>
                <c:pt idx="249">
                  <c:v>-0.14458338659529724</c:v>
                </c:pt>
                <c:pt idx="250">
                  <c:v>-0.14458338659529724</c:v>
                </c:pt>
                <c:pt idx="251">
                  <c:v>-0.14458338659529724</c:v>
                </c:pt>
                <c:pt idx="252">
                  <c:v>-0.14736626913129436</c:v>
                </c:pt>
                <c:pt idx="253">
                  <c:v>-0.130092966197633</c:v>
                </c:pt>
                <c:pt idx="254">
                  <c:v>-0.15916979530434072</c:v>
                </c:pt>
                <c:pt idx="255">
                  <c:v>-0.1584021223615073</c:v>
                </c:pt>
                <c:pt idx="256">
                  <c:v>-0.15600303737222632</c:v>
                </c:pt>
                <c:pt idx="257">
                  <c:v>-0.15600303737222632</c:v>
                </c:pt>
                <c:pt idx="258">
                  <c:v>-0.15600303737222632</c:v>
                </c:pt>
                <c:pt idx="259">
                  <c:v>-0.14237620037937426</c:v>
                </c:pt>
                <c:pt idx="260">
                  <c:v>-0.14947754488523834</c:v>
                </c:pt>
                <c:pt idx="261">
                  <c:v>-0.14362373702970443</c:v>
                </c:pt>
                <c:pt idx="262">
                  <c:v>-0.12951703632935563</c:v>
                </c:pt>
                <c:pt idx="263">
                  <c:v>-0.11176402538699959</c:v>
                </c:pt>
                <c:pt idx="264">
                  <c:v>-0.11176402538699959</c:v>
                </c:pt>
                <c:pt idx="265">
                  <c:v>-0.11176402538699959</c:v>
                </c:pt>
                <c:pt idx="266">
                  <c:v>-0.11176402538699959</c:v>
                </c:pt>
                <c:pt idx="267">
                  <c:v>-0.11579436672392607</c:v>
                </c:pt>
                <c:pt idx="268">
                  <c:v>-0.12231993706031485</c:v>
                </c:pt>
                <c:pt idx="269">
                  <c:v>-0.1046626808811354</c:v>
                </c:pt>
                <c:pt idx="270">
                  <c:v>-0.1195369766749168</c:v>
                </c:pt>
                <c:pt idx="271">
                  <c:v>-0.1195369766749168</c:v>
                </c:pt>
                <c:pt idx="272">
                  <c:v>-0.1195369766749168</c:v>
                </c:pt>
                <c:pt idx="273">
                  <c:v>-0.11637014089340147</c:v>
                </c:pt>
                <c:pt idx="274">
                  <c:v>-0.10965267178365457</c:v>
                </c:pt>
                <c:pt idx="275">
                  <c:v>-0.118001475090448</c:v>
                </c:pt>
                <c:pt idx="276">
                  <c:v>-0.13856399306392853</c:v>
                </c:pt>
                <c:pt idx="277">
                  <c:v>-0.1609378330494673</c:v>
                </c:pt>
                <c:pt idx="278">
                  <c:v>-0.1609378330494673</c:v>
                </c:pt>
                <c:pt idx="279">
                  <c:v>-0.1609378330494673</c:v>
                </c:pt>
                <c:pt idx="280">
                  <c:v>-0.1920284704601215</c:v>
                </c:pt>
                <c:pt idx="281">
                  <c:v>-0.19444989822747694</c:v>
                </c:pt>
                <c:pt idx="282">
                  <c:v>-0.18214914793052028</c:v>
                </c:pt>
                <c:pt idx="283">
                  <c:v>-0.20607258024210096</c:v>
                </c:pt>
                <c:pt idx="284">
                  <c:v>-0.20646003671066215</c:v>
                </c:pt>
                <c:pt idx="285">
                  <c:v>-0.20646003671066215</c:v>
                </c:pt>
                <c:pt idx="286">
                  <c:v>-0.20646003671066215</c:v>
                </c:pt>
                <c:pt idx="287">
                  <c:v>-0.20646003671066215</c:v>
                </c:pt>
                <c:pt idx="288">
                  <c:v>-0.18873536295025417</c:v>
                </c:pt>
                <c:pt idx="289">
                  <c:v>-0.19338445132598403</c:v>
                </c:pt>
                <c:pt idx="290">
                  <c:v>-0.18873536295025406</c:v>
                </c:pt>
                <c:pt idx="291">
                  <c:v>-0.16403717340035273</c:v>
                </c:pt>
                <c:pt idx="292">
                  <c:v>-0.16403717340035273</c:v>
                </c:pt>
                <c:pt idx="293">
                  <c:v>-0.16403717340035273</c:v>
                </c:pt>
                <c:pt idx="294">
                  <c:v>-0.16645852331830724</c:v>
                </c:pt>
                <c:pt idx="295">
                  <c:v>-0.17875911791646193</c:v>
                </c:pt>
                <c:pt idx="296">
                  <c:v>-0.18098701207303913</c:v>
                </c:pt>
                <c:pt idx="297">
                  <c:v>-0.18747630458858222</c:v>
                </c:pt>
                <c:pt idx="298">
                  <c:v>-0.18176169146195875</c:v>
                </c:pt>
                <c:pt idx="299">
                  <c:v>-0.18176169146195875</c:v>
                </c:pt>
                <c:pt idx="300">
                  <c:v>-0.18176169146195875</c:v>
                </c:pt>
                <c:pt idx="301">
                  <c:v>-0.18176169146195875</c:v>
                </c:pt>
                <c:pt idx="302">
                  <c:v>-0.18592655656373824</c:v>
                </c:pt>
                <c:pt idx="303">
                  <c:v>-0.1847643428568565</c:v>
                </c:pt>
                <c:pt idx="304">
                  <c:v>-0.17178552427756755</c:v>
                </c:pt>
                <c:pt idx="305">
                  <c:v>-0.17236674790510986</c:v>
                </c:pt>
                <c:pt idx="306">
                  <c:v>-0.17236674790510986</c:v>
                </c:pt>
                <c:pt idx="307">
                  <c:v>-0.17236674790510986</c:v>
                </c:pt>
                <c:pt idx="308">
                  <c:v>-0.1840862745745242</c:v>
                </c:pt>
                <c:pt idx="309">
                  <c:v>-0.18912274156941433</c:v>
                </c:pt>
                <c:pt idx="310">
                  <c:v>-0.19241592692868226</c:v>
                </c:pt>
                <c:pt idx="311">
                  <c:v>-0.19793669504692368</c:v>
                </c:pt>
                <c:pt idx="312">
                  <c:v>-0.18428004173350532</c:v>
                </c:pt>
                <c:pt idx="313">
                  <c:v>-0.18428004173350532</c:v>
                </c:pt>
                <c:pt idx="314">
                  <c:v>-0.18428004173350532</c:v>
                </c:pt>
                <c:pt idx="315">
                  <c:v>-0.18650770234187963</c:v>
                </c:pt>
                <c:pt idx="316">
                  <c:v>-0.165877455389567</c:v>
                </c:pt>
                <c:pt idx="317">
                  <c:v>-0.16326226046323045</c:v>
                </c:pt>
                <c:pt idx="318">
                  <c:v>-0.15473899664889312</c:v>
                </c:pt>
                <c:pt idx="319">
                  <c:v>-0.16190643529616944</c:v>
                </c:pt>
                <c:pt idx="320">
                  <c:v>-0.16190643529616944</c:v>
                </c:pt>
                <c:pt idx="321">
                  <c:v>-0.16190643529616944</c:v>
                </c:pt>
                <c:pt idx="322">
                  <c:v>-0.15929116252043185</c:v>
                </c:pt>
                <c:pt idx="323">
                  <c:v>-0.16946109686380406</c:v>
                </c:pt>
                <c:pt idx="324">
                  <c:v>-0.14912146172526242</c:v>
                </c:pt>
                <c:pt idx="325">
                  <c:v>-0.14098549868068444</c:v>
                </c:pt>
                <c:pt idx="326">
                  <c:v>-0.13004072924959065</c:v>
                </c:pt>
                <c:pt idx="327">
                  <c:v>-0.13004072924959065</c:v>
                </c:pt>
                <c:pt idx="328">
                  <c:v>-0.13004072924959065</c:v>
                </c:pt>
                <c:pt idx="329">
                  <c:v>-0.13284945778670543</c:v>
                </c:pt>
                <c:pt idx="330">
                  <c:v>-0.13962943996542054</c:v>
                </c:pt>
                <c:pt idx="331">
                  <c:v>-0.1285879037289378</c:v>
                </c:pt>
                <c:pt idx="332">
                  <c:v>-0.12723192286307483</c:v>
                </c:pt>
                <c:pt idx="333">
                  <c:v>-0.12994380674539951</c:v>
                </c:pt>
                <c:pt idx="334">
                  <c:v>-0.12994380674539951</c:v>
                </c:pt>
                <c:pt idx="335">
                  <c:v>-0.12994380674539951</c:v>
                </c:pt>
                <c:pt idx="336">
                  <c:v>-0.12955642812623924</c:v>
                </c:pt>
                <c:pt idx="337">
                  <c:v>-0.1337212153786178</c:v>
                </c:pt>
                <c:pt idx="338">
                  <c:v>-0.11560931869785163</c:v>
                </c:pt>
                <c:pt idx="339">
                  <c:v>-0.1148343279113283</c:v>
                </c:pt>
                <c:pt idx="340">
                  <c:v>-0.1026305001185629</c:v>
                </c:pt>
                <c:pt idx="341">
                  <c:v>-0.1026305001185629</c:v>
                </c:pt>
                <c:pt idx="342">
                  <c:v>-0.1026305001185629</c:v>
                </c:pt>
                <c:pt idx="343">
                  <c:v>-0.10282426727754401</c:v>
                </c:pt>
                <c:pt idx="344">
                  <c:v>-0.1021461989952116</c:v>
                </c:pt>
                <c:pt idx="345">
                  <c:v>-0.10863549151075469</c:v>
                </c:pt>
                <c:pt idx="346">
                  <c:v>-0.10892625902332775</c:v>
                </c:pt>
                <c:pt idx="347">
                  <c:v>-0.1208395528517231</c:v>
                </c:pt>
                <c:pt idx="348">
                  <c:v>-0.1208395528517231</c:v>
                </c:pt>
                <c:pt idx="349">
                  <c:v>-0.1208395528517231</c:v>
                </c:pt>
                <c:pt idx="350">
                  <c:v>-0.13740170150764552</c:v>
                </c:pt>
                <c:pt idx="351">
                  <c:v>-0.13749862401183655</c:v>
                </c:pt>
                <c:pt idx="352">
                  <c:v>-0.13527096340346223</c:v>
                </c:pt>
                <c:pt idx="353">
                  <c:v>-0.1224859119831544</c:v>
                </c:pt>
                <c:pt idx="354">
                  <c:v>-0.14863708275251053</c:v>
                </c:pt>
                <c:pt idx="355">
                  <c:v>-0.14863708275251053</c:v>
                </c:pt>
                <c:pt idx="356">
                  <c:v>-0.14863708275251053</c:v>
                </c:pt>
                <c:pt idx="357">
                  <c:v>-0.15386723905698085</c:v>
                </c:pt>
                <c:pt idx="358">
                  <c:v>-0.1625842700302993</c:v>
                </c:pt>
                <c:pt idx="359">
                  <c:v>-0.1680081156443497</c:v>
                </c:pt>
                <c:pt idx="360">
                  <c:v>-0.17004208694314393</c:v>
                </c:pt>
                <c:pt idx="361">
                  <c:v>-0.17720952559042036</c:v>
                </c:pt>
                <c:pt idx="362">
                  <c:v>-0.17720952559042036</c:v>
                </c:pt>
                <c:pt idx="363">
                  <c:v>-0.17720952559042036</c:v>
                </c:pt>
                <c:pt idx="364">
                  <c:v>-0.17720952559042036</c:v>
                </c:pt>
                <c:pt idx="365">
                  <c:v>-0.1817616914619592</c:v>
                </c:pt>
                <c:pt idx="366">
                  <c:v>-0.1695579415185946</c:v>
                </c:pt>
                <c:pt idx="367">
                  <c:v>-0.1656836882305861</c:v>
                </c:pt>
                <c:pt idx="368">
                  <c:v>-0.1502836754321446</c:v>
                </c:pt>
                <c:pt idx="369">
                  <c:v>-0.1502836754321446</c:v>
                </c:pt>
                <c:pt idx="370">
                  <c:v>-0.1502836754321446</c:v>
                </c:pt>
                <c:pt idx="371">
                  <c:v>-0.1398232071244021</c:v>
                </c:pt>
                <c:pt idx="372">
                  <c:v>-0.17381965127516408</c:v>
                </c:pt>
                <c:pt idx="373">
                  <c:v>-0.17052654376529697</c:v>
                </c:pt>
                <c:pt idx="374">
                  <c:v>-0.1791467300838253</c:v>
                </c:pt>
                <c:pt idx="375">
                  <c:v>-0.18650770234187986</c:v>
                </c:pt>
                <c:pt idx="376">
                  <c:v>-0.18650770234187986</c:v>
                </c:pt>
                <c:pt idx="377">
                  <c:v>-0.18650770234187986</c:v>
                </c:pt>
                <c:pt idx="378">
                  <c:v>-0.18118070138261966</c:v>
                </c:pt>
                <c:pt idx="379">
                  <c:v>-0.19125363537239992</c:v>
                </c:pt>
                <c:pt idx="380">
                  <c:v>-0.20452298791605905</c:v>
                </c:pt>
                <c:pt idx="381">
                  <c:v>-0.21043105680405982</c:v>
                </c:pt>
                <c:pt idx="382">
                  <c:v>-0.22699343900818503</c:v>
                </c:pt>
                <c:pt idx="383">
                  <c:v>-0.22699343900818503</c:v>
                </c:pt>
                <c:pt idx="384">
                  <c:v>-0.22699343900818503</c:v>
                </c:pt>
                <c:pt idx="385">
                  <c:v>-0.23619477110485465</c:v>
                </c:pt>
                <c:pt idx="386">
                  <c:v>-0.23871304352700018</c:v>
                </c:pt>
                <c:pt idx="387">
                  <c:v>-0.22311918572017653</c:v>
                </c:pt>
                <c:pt idx="388">
                  <c:v>-0.2377444412802976</c:v>
                </c:pt>
                <c:pt idx="389">
                  <c:v>-0.24617086043984482</c:v>
                </c:pt>
                <c:pt idx="390">
                  <c:v>-0.24617086043984482</c:v>
                </c:pt>
                <c:pt idx="391">
                  <c:v>-0.24617086043984482</c:v>
                </c:pt>
                <c:pt idx="392">
                  <c:v>-0.2282525752192578</c:v>
                </c:pt>
                <c:pt idx="393">
                  <c:v>-0.2019077929897225</c:v>
                </c:pt>
                <c:pt idx="394">
                  <c:v>-0.2054914344639598</c:v>
                </c:pt>
                <c:pt idx="395">
                  <c:v>-0.21469268871122849</c:v>
                </c:pt>
                <c:pt idx="396">
                  <c:v>-0.23464502308001078</c:v>
                </c:pt>
                <c:pt idx="397">
                  <c:v>-0.23464502308001078</c:v>
                </c:pt>
                <c:pt idx="398">
                  <c:v>-0.23464502308001078</c:v>
                </c:pt>
                <c:pt idx="399">
                  <c:v>-0.2407469369763936</c:v>
                </c:pt>
                <c:pt idx="400">
                  <c:v>-0.24713946268654752</c:v>
                </c:pt>
                <c:pt idx="401">
                  <c:v>-0.24917343398534186</c:v>
                </c:pt>
                <c:pt idx="402">
                  <c:v>-0.23222359531265546</c:v>
                </c:pt>
                <c:pt idx="403">
                  <c:v>-0.24849536570300956</c:v>
                </c:pt>
                <c:pt idx="404">
                  <c:v>-0.24849536570300956</c:v>
                </c:pt>
                <c:pt idx="405">
                  <c:v>-0.24849536570300956</c:v>
                </c:pt>
                <c:pt idx="406">
                  <c:v>-0.2290274881563804</c:v>
                </c:pt>
                <c:pt idx="407">
                  <c:v>-0.22176328270371493</c:v>
                </c:pt>
                <c:pt idx="408">
                  <c:v>-0.22970540073991086</c:v>
                </c:pt>
                <c:pt idx="409">
                  <c:v>-0.23338588686893813</c:v>
                </c:pt>
                <c:pt idx="410">
                  <c:v>-0.21711411647858414</c:v>
                </c:pt>
                <c:pt idx="411">
                  <c:v>-0.21711411647858414</c:v>
                </c:pt>
                <c:pt idx="412">
                  <c:v>-0.21711411647858414</c:v>
                </c:pt>
                <c:pt idx="413">
                  <c:v>-0.21478961121541962</c:v>
                </c:pt>
                <c:pt idx="414">
                  <c:v>-0.2009391128936191</c:v>
                </c:pt>
                <c:pt idx="415">
                  <c:v>-0.20084234608822993</c:v>
                </c:pt>
                <c:pt idx="416">
                  <c:v>-0.2056852016229409</c:v>
                </c:pt>
                <c:pt idx="417">
                  <c:v>-0.19299707270682398</c:v>
                </c:pt>
                <c:pt idx="418">
                  <c:v>-0.19299707270682398</c:v>
                </c:pt>
                <c:pt idx="419">
                  <c:v>-0.19299707270682398</c:v>
                </c:pt>
                <c:pt idx="420">
                  <c:v>-0.19832422936488625</c:v>
                </c:pt>
                <c:pt idx="421">
                  <c:v>-0.19754923857836282</c:v>
                </c:pt>
                <c:pt idx="422">
                  <c:v>-0.214014698278297</c:v>
                </c:pt>
                <c:pt idx="423">
                  <c:v>-0.2208915251118022</c:v>
                </c:pt>
                <c:pt idx="424">
                  <c:v>-0.202585783422654</c:v>
                </c:pt>
                <c:pt idx="425">
                  <c:v>-0.202585783422654</c:v>
                </c:pt>
                <c:pt idx="426">
                  <c:v>-0.202585783422654</c:v>
                </c:pt>
                <c:pt idx="427">
                  <c:v>-0.19754923857836282</c:v>
                </c:pt>
                <c:pt idx="428">
                  <c:v>-0.19193170365473233</c:v>
                </c:pt>
                <c:pt idx="429">
                  <c:v>-0.20684741532982265</c:v>
                </c:pt>
                <c:pt idx="430">
                  <c:v>-0.16432770736472346</c:v>
                </c:pt>
                <c:pt idx="431">
                  <c:v>-0.15163965629800757</c:v>
                </c:pt>
                <c:pt idx="432">
                  <c:v>-0.15163965629800757</c:v>
                </c:pt>
                <c:pt idx="433">
                  <c:v>-0.15163965629800757</c:v>
                </c:pt>
                <c:pt idx="434">
                  <c:v>-0.1592911625204324</c:v>
                </c:pt>
                <c:pt idx="435">
                  <c:v>-0.15115527732525535</c:v>
                </c:pt>
                <c:pt idx="436">
                  <c:v>-0.15754772518600835</c:v>
                </c:pt>
                <c:pt idx="437">
                  <c:v>-0.15958169648480258</c:v>
                </c:pt>
                <c:pt idx="438">
                  <c:v>-0.15793510380516873</c:v>
                </c:pt>
                <c:pt idx="439">
                  <c:v>-0.15793510380516873</c:v>
                </c:pt>
                <c:pt idx="440">
                  <c:v>-0.15793510380516873</c:v>
                </c:pt>
                <c:pt idx="441">
                  <c:v>-0.16258427003029952</c:v>
                </c:pt>
                <c:pt idx="442">
                  <c:v>-0.15212387957195805</c:v>
                </c:pt>
                <c:pt idx="443">
                  <c:v>-0.14553758670282313</c:v>
                </c:pt>
                <c:pt idx="444">
                  <c:v>-0.14553758670282313</c:v>
                </c:pt>
                <c:pt idx="445">
                  <c:v>-0.14485967411929268</c:v>
                </c:pt>
                <c:pt idx="446">
                  <c:v>-0.14485967411929268</c:v>
                </c:pt>
                <c:pt idx="447">
                  <c:v>-0.14485967411929268</c:v>
                </c:pt>
                <c:pt idx="448">
                  <c:v>-0.1572571912216384</c:v>
                </c:pt>
                <c:pt idx="449">
                  <c:v>-0.15551383173661537</c:v>
                </c:pt>
                <c:pt idx="450">
                  <c:v>-0.13149371046904645</c:v>
                </c:pt>
                <c:pt idx="451">
                  <c:v>-0.13023449640857265</c:v>
                </c:pt>
                <c:pt idx="452">
                  <c:v>-0.1310092536468932</c:v>
                </c:pt>
                <c:pt idx="453">
                  <c:v>-0.1310092536468932</c:v>
                </c:pt>
                <c:pt idx="454">
                  <c:v>-0.1310092536468932</c:v>
                </c:pt>
                <c:pt idx="455">
                  <c:v>-0.14582819851659434</c:v>
                </c:pt>
                <c:pt idx="456">
                  <c:v>-0.15493268595847387</c:v>
                </c:pt>
                <c:pt idx="457">
                  <c:v>-0.15648243398331785</c:v>
                </c:pt>
                <c:pt idx="458">
                  <c:v>-0.14999298576897302</c:v>
                </c:pt>
                <c:pt idx="459">
                  <c:v>-0.15406100621596253</c:v>
                </c:pt>
                <c:pt idx="460">
                  <c:v>-0.15406100621596253</c:v>
                </c:pt>
                <c:pt idx="461">
                  <c:v>-0.15406100621596253</c:v>
                </c:pt>
                <c:pt idx="462">
                  <c:v>-0.1465061111001249</c:v>
                </c:pt>
                <c:pt idx="463">
                  <c:v>-0.1386393512840549</c:v>
                </c:pt>
                <c:pt idx="464">
                  <c:v>-0.1419578376986338</c:v>
                </c:pt>
                <c:pt idx="465">
                  <c:v>-0.16304038967050472</c:v>
                </c:pt>
                <c:pt idx="466">
                  <c:v>-0.171141709731657</c:v>
                </c:pt>
                <c:pt idx="467">
                  <c:v>-0.171141709731657</c:v>
                </c:pt>
                <c:pt idx="468">
                  <c:v>-0.171141709731657</c:v>
                </c:pt>
                <c:pt idx="469">
                  <c:v>-0.17621702357762448</c:v>
                </c:pt>
                <c:pt idx="470">
                  <c:v>-0.17436265084683722</c:v>
                </c:pt>
                <c:pt idx="471">
                  <c:v>-0.16352850541450292</c:v>
                </c:pt>
                <c:pt idx="472">
                  <c:v>-0.17358182135524214</c:v>
                </c:pt>
                <c:pt idx="473">
                  <c:v>-0.16977521919666516</c:v>
                </c:pt>
                <c:pt idx="474">
                  <c:v>-0.16977521919666516</c:v>
                </c:pt>
                <c:pt idx="475">
                  <c:v>-0.16977521919666516</c:v>
                </c:pt>
                <c:pt idx="476">
                  <c:v>-0.16977521919666516</c:v>
                </c:pt>
                <c:pt idx="477">
                  <c:v>-0.17006801079366307</c:v>
                </c:pt>
                <c:pt idx="478">
                  <c:v>-0.1808045330771978</c:v>
                </c:pt>
                <c:pt idx="479">
                  <c:v>-0.166554200232084</c:v>
                </c:pt>
                <c:pt idx="480">
                  <c:v>-0.17153220232685573</c:v>
                </c:pt>
                <c:pt idx="481">
                  <c:v>-0.17153220232685573</c:v>
                </c:pt>
                <c:pt idx="482">
                  <c:v>-0.17153220232685573</c:v>
                </c:pt>
                <c:pt idx="483">
                  <c:v>-0.17153220232685573</c:v>
                </c:pt>
                <c:pt idx="484">
                  <c:v>-0.17133687817985555</c:v>
                </c:pt>
                <c:pt idx="485">
                  <c:v>-0.16079560219392008</c:v>
                </c:pt>
                <c:pt idx="486">
                  <c:v>-0.16938480445086757</c:v>
                </c:pt>
                <c:pt idx="487">
                  <c:v>-0.1501566252097839</c:v>
                </c:pt>
                <c:pt idx="488">
                  <c:v>-0.1501566252097839</c:v>
                </c:pt>
                <c:pt idx="489">
                  <c:v>-0.1501566252097839</c:v>
                </c:pt>
                <c:pt idx="490">
                  <c:v>-0.1483021746295956</c:v>
                </c:pt>
                <c:pt idx="491">
                  <c:v>-0.1435195745312251</c:v>
                </c:pt>
                <c:pt idx="492">
                  <c:v>-0.134539879679079</c:v>
                </c:pt>
                <c:pt idx="493">
                  <c:v>-0.12848841219451612</c:v>
                </c:pt>
                <c:pt idx="494">
                  <c:v>-0.12458418688713946</c:v>
                </c:pt>
                <c:pt idx="495">
                  <c:v>-0.12458418688713946</c:v>
                </c:pt>
                <c:pt idx="496">
                  <c:v>-0.12458418688713946</c:v>
                </c:pt>
                <c:pt idx="497">
                  <c:v>-0.12458418688713946</c:v>
                </c:pt>
                <c:pt idx="498">
                  <c:v>-0.12516992577993724</c:v>
                </c:pt>
                <c:pt idx="499">
                  <c:v>-0.13473512597667825</c:v>
                </c:pt>
                <c:pt idx="500">
                  <c:v>-0.13815123554005682</c:v>
                </c:pt>
                <c:pt idx="501">
                  <c:v>-0.12477951103413976</c:v>
                </c:pt>
                <c:pt idx="502">
                  <c:v>-0.12477951103413976</c:v>
                </c:pt>
                <c:pt idx="503">
                  <c:v>-0.12477951103413976</c:v>
                </c:pt>
                <c:pt idx="504">
                  <c:v>-0.1170686835681859</c:v>
                </c:pt>
                <c:pt idx="505">
                  <c:v>-0.1182400056549795</c:v>
                </c:pt>
                <c:pt idx="506">
                  <c:v>-0.11619023092779102</c:v>
                </c:pt>
                <c:pt idx="507">
                  <c:v>-0.10867472760883745</c:v>
                </c:pt>
                <c:pt idx="508">
                  <c:v>-0.10818661186483935</c:v>
                </c:pt>
                <c:pt idx="509">
                  <c:v>-0.10818661186483935</c:v>
                </c:pt>
                <c:pt idx="510">
                  <c:v>-0.10818661186483935</c:v>
                </c:pt>
                <c:pt idx="511">
                  <c:v>-0.118923211997775</c:v>
                </c:pt>
                <c:pt idx="512">
                  <c:v>-0.10935793395163296</c:v>
                </c:pt>
                <c:pt idx="513">
                  <c:v>-0.10028061595068727</c:v>
                </c:pt>
                <c:pt idx="514">
                  <c:v>-0.09296035892933296</c:v>
                </c:pt>
                <c:pt idx="515">
                  <c:v>-0.10340401176646885</c:v>
                </c:pt>
                <c:pt idx="516">
                  <c:v>-0.10340401176646885</c:v>
                </c:pt>
                <c:pt idx="517">
                  <c:v>-0.10340401176646885</c:v>
                </c:pt>
                <c:pt idx="518">
                  <c:v>-0.11082196978602377</c:v>
                </c:pt>
                <c:pt idx="519">
                  <c:v>-0.10135439273808233</c:v>
                </c:pt>
                <c:pt idx="520">
                  <c:v>-0.10906514235463505</c:v>
                </c:pt>
                <c:pt idx="521">
                  <c:v>-0.11296928981261078</c:v>
                </c:pt>
                <c:pt idx="522">
                  <c:v>-0.11375011930420587</c:v>
                </c:pt>
                <c:pt idx="523">
                  <c:v>-0.11375011930420587</c:v>
                </c:pt>
                <c:pt idx="524">
                  <c:v>-0.11375011930420587</c:v>
                </c:pt>
                <c:pt idx="525">
                  <c:v>-0.10438008755566308</c:v>
                </c:pt>
                <c:pt idx="526">
                  <c:v>-0.10389212751046684</c:v>
                </c:pt>
                <c:pt idx="527">
                  <c:v>-0.10330646646707009</c:v>
                </c:pt>
                <c:pt idx="528">
                  <c:v>-0.11238370661861485</c:v>
                </c:pt>
                <c:pt idx="529">
                  <c:v>-0.11462857194460063</c:v>
                </c:pt>
                <c:pt idx="530">
                  <c:v>-0.11462857194460063</c:v>
                </c:pt>
                <c:pt idx="531">
                  <c:v>-0.11462857194460063</c:v>
                </c:pt>
                <c:pt idx="532">
                  <c:v>-0.11462857194460063</c:v>
                </c:pt>
                <c:pt idx="533">
                  <c:v>-0.12975720173130734</c:v>
                </c:pt>
                <c:pt idx="534">
                  <c:v>-0.13209984590489465</c:v>
                </c:pt>
                <c:pt idx="535">
                  <c:v>-0.12790282900051997</c:v>
                </c:pt>
                <c:pt idx="536">
                  <c:v>-0.13951772607504853</c:v>
                </c:pt>
                <c:pt idx="537">
                  <c:v>-0.13951772607504853</c:v>
                </c:pt>
                <c:pt idx="538">
                  <c:v>-0.13951772607504853</c:v>
                </c:pt>
                <c:pt idx="539">
                  <c:v>-0.13444225653027908</c:v>
                </c:pt>
                <c:pt idx="540">
                  <c:v>-0.1389321428810526</c:v>
                </c:pt>
                <c:pt idx="541">
                  <c:v>-0.1370776923008643</c:v>
                </c:pt>
                <c:pt idx="542">
                  <c:v>-0.13239263750189245</c:v>
                </c:pt>
                <c:pt idx="543">
                  <c:v>-0.11931354889417134</c:v>
                </c:pt>
                <c:pt idx="544">
                  <c:v>-0.11931354889417134</c:v>
                </c:pt>
                <c:pt idx="545">
                  <c:v>-0.11931354889417134</c:v>
                </c:pt>
                <c:pt idx="546">
                  <c:v>-0.1198992099375682</c:v>
                </c:pt>
                <c:pt idx="547">
                  <c:v>-0.13375905018748346</c:v>
                </c:pt>
                <c:pt idx="548">
                  <c:v>-0.13190452175789413</c:v>
                </c:pt>
                <c:pt idx="549">
                  <c:v>-0.14586206300601</c:v>
                </c:pt>
                <c:pt idx="550">
                  <c:v>-0.1570866231841419</c:v>
                </c:pt>
                <c:pt idx="551">
                  <c:v>-0.1570866231841419</c:v>
                </c:pt>
                <c:pt idx="552">
                  <c:v>-0.1570866231841419</c:v>
                </c:pt>
                <c:pt idx="553">
                  <c:v>-0.15923394321072903</c:v>
                </c:pt>
                <c:pt idx="554">
                  <c:v>-0.14761889043739862</c:v>
                </c:pt>
                <c:pt idx="555">
                  <c:v>-0.15942911165892737</c:v>
                </c:pt>
                <c:pt idx="556">
                  <c:v>-0.14576451770661136</c:v>
                </c:pt>
                <c:pt idx="557">
                  <c:v>-0.15503684845695342</c:v>
                </c:pt>
                <c:pt idx="558">
                  <c:v>-0.15503684845695342</c:v>
                </c:pt>
                <c:pt idx="559">
                  <c:v>-0.15503684845695342</c:v>
                </c:pt>
                <c:pt idx="560">
                  <c:v>-0.1468379830964026</c:v>
                </c:pt>
                <c:pt idx="561">
                  <c:v>-0.135515955468273</c:v>
                </c:pt>
                <c:pt idx="562">
                  <c:v>-0.1447883640680161</c:v>
                </c:pt>
                <c:pt idx="563">
                  <c:v>-0.14254349874203032</c:v>
                </c:pt>
                <c:pt idx="564">
                  <c:v>-0.14049380186424287</c:v>
                </c:pt>
                <c:pt idx="565">
                  <c:v>-0.14049380186424287</c:v>
                </c:pt>
                <c:pt idx="566">
                  <c:v>-0.14049380186424287</c:v>
                </c:pt>
                <c:pt idx="567">
                  <c:v>-0.13746802919726098</c:v>
                </c:pt>
                <c:pt idx="568">
                  <c:v>-0.13668719970566579</c:v>
                </c:pt>
                <c:pt idx="569">
                  <c:v>-0.12614592371973032</c:v>
                </c:pt>
                <c:pt idx="570">
                  <c:v>-0.11902075729717332</c:v>
                </c:pt>
                <c:pt idx="571">
                  <c:v>-0.11023638659202739</c:v>
                </c:pt>
                <c:pt idx="572">
                  <c:v>-0.11023638659202739</c:v>
                </c:pt>
                <c:pt idx="573">
                  <c:v>-0.11023638659202739</c:v>
                </c:pt>
                <c:pt idx="574">
                  <c:v>-0.10506329389845837</c:v>
                </c:pt>
                <c:pt idx="575">
                  <c:v>-0.10818661186483891</c:v>
                </c:pt>
                <c:pt idx="576">
                  <c:v>-0.112774121364412</c:v>
                </c:pt>
                <c:pt idx="577">
                  <c:v>-0.10926023295343201</c:v>
                </c:pt>
                <c:pt idx="578">
                  <c:v>-0.10926023295343201</c:v>
                </c:pt>
                <c:pt idx="579">
                  <c:v>-0.10926023295343201</c:v>
                </c:pt>
                <c:pt idx="580">
                  <c:v>-0.10926023295343201</c:v>
                </c:pt>
                <c:pt idx="581">
                  <c:v>-0.10867472760883712</c:v>
                </c:pt>
                <c:pt idx="582">
                  <c:v>-0.10691782232804747</c:v>
                </c:pt>
                <c:pt idx="583">
                  <c:v>-0.10838185816243817</c:v>
                </c:pt>
                <c:pt idx="584">
                  <c:v>-0.09647409164151066</c:v>
                </c:pt>
                <c:pt idx="585">
                  <c:v>-0.09910937171329404</c:v>
                </c:pt>
                <c:pt idx="586">
                  <c:v>-0.09910937171329404</c:v>
                </c:pt>
                <c:pt idx="587">
                  <c:v>-0.09910937171329404</c:v>
                </c:pt>
                <c:pt idx="588">
                  <c:v>-0.09745016743070511</c:v>
                </c:pt>
                <c:pt idx="589">
                  <c:v>-0.09579088529871516</c:v>
                </c:pt>
                <c:pt idx="590">
                  <c:v>-0.09764541372830438</c:v>
                </c:pt>
                <c:pt idx="591">
                  <c:v>-0.10096382229348233</c:v>
                </c:pt>
                <c:pt idx="592">
                  <c:v>-0.10037839479828825</c:v>
                </c:pt>
                <c:pt idx="593">
                  <c:v>-0.10037839479828825</c:v>
                </c:pt>
                <c:pt idx="594">
                  <c:v>-0.10037839479828825</c:v>
                </c:pt>
                <c:pt idx="595">
                  <c:v>-0.09998790220308962</c:v>
                </c:pt>
                <c:pt idx="596">
                  <c:v>-0.11443332564700082</c:v>
                </c:pt>
                <c:pt idx="597">
                  <c:v>-0.1166781909729867</c:v>
                </c:pt>
                <c:pt idx="598">
                  <c:v>-0.10154956118628</c:v>
                </c:pt>
                <c:pt idx="599">
                  <c:v>-0.09627892319331222</c:v>
                </c:pt>
                <c:pt idx="600">
                  <c:v>-0.09627892319331222</c:v>
                </c:pt>
                <c:pt idx="601">
                  <c:v>-0.09627892319331222</c:v>
                </c:pt>
                <c:pt idx="602">
                  <c:v>-0.097450167430705</c:v>
                </c:pt>
                <c:pt idx="603">
                  <c:v>-0.10760102867084287</c:v>
                </c:pt>
                <c:pt idx="604">
                  <c:v>-0.1108219697860231</c:v>
                </c:pt>
                <c:pt idx="605">
                  <c:v>-0.11404306660000518</c:v>
                </c:pt>
                <c:pt idx="606">
                  <c:v>-0.09901182641389528</c:v>
                </c:pt>
                <c:pt idx="607">
                  <c:v>-0.09901182641389528</c:v>
                </c:pt>
                <c:pt idx="608">
                  <c:v>-0.09901182641389528</c:v>
                </c:pt>
                <c:pt idx="609">
                  <c:v>-0.0986214895174986</c:v>
                </c:pt>
                <c:pt idx="610">
                  <c:v>-0.10242801382667466</c:v>
                </c:pt>
                <c:pt idx="611">
                  <c:v>-0.10018307065128795</c:v>
                </c:pt>
                <c:pt idx="612">
                  <c:v>-0.10242801382667466</c:v>
                </c:pt>
                <c:pt idx="613">
                  <c:v>-0.10496567074965846</c:v>
                </c:pt>
                <c:pt idx="614">
                  <c:v>-0.10496567074965846</c:v>
                </c:pt>
                <c:pt idx="615">
                  <c:v>-0.10496567074965846</c:v>
                </c:pt>
                <c:pt idx="616">
                  <c:v>-0.09881673581509787</c:v>
                </c:pt>
                <c:pt idx="617">
                  <c:v>-0.10603936968765248</c:v>
                </c:pt>
                <c:pt idx="618">
                  <c:v>-0.09764541372830415</c:v>
                </c:pt>
                <c:pt idx="619">
                  <c:v>-0.09315544952812971</c:v>
                </c:pt>
                <c:pt idx="620">
                  <c:v>-0.09256994418353481</c:v>
                </c:pt>
                <c:pt idx="621">
                  <c:v>-0.09256994418353481</c:v>
                </c:pt>
                <c:pt idx="622">
                  <c:v>-0.09256994418353481</c:v>
                </c:pt>
                <c:pt idx="623">
                  <c:v>-0.0912035314979438</c:v>
                </c:pt>
                <c:pt idx="624">
                  <c:v>-0.1026231822748731</c:v>
                </c:pt>
                <c:pt idx="625">
                  <c:v>-0.11091959293482268</c:v>
                </c:pt>
                <c:pt idx="626">
                  <c:v>-0.10730823707384485</c:v>
                </c:pt>
                <c:pt idx="627">
                  <c:v>-0.09559563900111567</c:v>
                </c:pt>
                <c:pt idx="628">
                  <c:v>-0.09559563900111567</c:v>
                </c:pt>
                <c:pt idx="629">
                  <c:v>-0.09559563900111567</c:v>
                </c:pt>
                <c:pt idx="630">
                  <c:v>-0.09559563900111567</c:v>
                </c:pt>
                <c:pt idx="631">
                  <c:v>-0.09930461801089308</c:v>
                </c:pt>
                <c:pt idx="632">
                  <c:v>-0.10574650024125343</c:v>
                </c:pt>
                <c:pt idx="633">
                  <c:v>-0.09510767895591932</c:v>
                </c:pt>
                <c:pt idx="634">
                  <c:v>-0.08163817560240061</c:v>
                </c:pt>
                <c:pt idx="635">
                  <c:v>-0.08163817560240061</c:v>
                </c:pt>
                <c:pt idx="636">
                  <c:v>-0.08163817560240061</c:v>
                </c:pt>
                <c:pt idx="637">
                  <c:v>-0.08407836507538657</c:v>
                </c:pt>
                <c:pt idx="638">
                  <c:v>-0.07968610187341263</c:v>
                </c:pt>
                <c:pt idx="639">
                  <c:v>-0.08458664381423242</c:v>
                </c:pt>
                <c:pt idx="640">
                  <c:v>-0.07798034364905149</c:v>
                </c:pt>
                <c:pt idx="641">
                  <c:v>-0.07669847541289943</c:v>
                </c:pt>
                <c:pt idx="642">
                  <c:v>-0.07669847541289943</c:v>
                </c:pt>
                <c:pt idx="643">
                  <c:v>-0.07669847541289943</c:v>
                </c:pt>
                <c:pt idx="644">
                  <c:v>-0.06999369575550851</c:v>
                </c:pt>
                <c:pt idx="645">
                  <c:v>-0.06279574014305711</c:v>
                </c:pt>
                <c:pt idx="646">
                  <c:v>-0.060527909243789035</c:v>
                </c:pt>
                <c:pt idx="647">
                  <c:v>-0.04987912323513255</c:v>
                </c:pt>
                <c:pt idx="648">
                  <c:v>-0.052639896541258</c:v>
                </c:pt>
                <c:pt idx="649">
                  <c:v>-0.052639896541258</c:v>
                </c:pt>
                <c:pt idx="650">
                  <c:v>-0.052639896541258</c:v>
                </c:pt>
                <c:pt idx="651">
                  <c:v>-0.052639896541258</c:v>
                </c:pt>
                <c:pt idx="652">
                  <c:v>-0.06131675722368268</c:v>
                </c:pt>
                <c:pt idx="653">
                  <c:v>-0.06457055078606655</c:v>
                </c:pt>
                <c:pt idx="654">
                  <c:v>-0.06437335825344337</c:v>
                </c:pt>
                <c:pt idx="655">
                  <c:v>-0.07403625944838499</c:v>
                </c:pt>
                <c:pt idx="656">
                  <c:v>-0.07403625944838499</c:v>
                </c:pt>
                <c:pt idx="657">
                  <c:v>-0.07403625944838499</c:v>
                </c:pt>
                <c:pt idx="658">
                  <c:v>-0.07561387755877147</c:v>
                </c:pt>
                <c:pt idx="659">
                  <c:v>-0.06585241902221883</c:v>
                </c:pt>
                <c:pt idx="660">
                  <c:v>-0.06595089851442892</c:v>
                </c:pt>
                <c:pt idx="661">
                  <c:v>-0.06437335825344359</c:v>
                </c:pt>
                <c:pt idx="662">
                  <c:v>-0.05402032211902141</c:v>
                </c:pt>
                <c:pt idx="663">
                  <c:v>-0.05402032211902141</c:v>
                </c:pt>
                <c:pt idx="664">
                  <c:v>-0.05402032211902141</c:v>
                </c:pt>
                <c:pt idx="665">
                  <c:v>-0.05175241337035241</c:v>
                </c:pt>
                <c:pt idx="666">
                  <c:v>-0.05175241337035241</c:v>
                </c:pt>
                <c:pt idx="667">
                  <c:v>-0.056386710359900505</c:v>
                </c:pt>
                <c:pt idx="668">
                  <c:v>-0.06802169257987589</c:v>
                </c:pt>
                <c:pt idx="669">
                  <c:v>-0.06614824674585418</c:v>
                </c:pt>
                <c:pt idx="670">
                  <c:v>-0.06614824674585418</c:v>
                </c:pt>
                <c:pt idx="671">
                  <c:v>-0.06614824674585418</c:v>
                </c:pt>
                <c:pt idx="672">
                  <c:v>-0.06378178065557394</c:v>
                </c:pt>
                <c:pt idx="673">
                  <c:v>-0.05638671035990028</c:v>
                </c:pt>
                <c:pt idx="674">
                  <c:v>-0.04504755586356013</c:v>
                </c:pt>
                <c:pt idx="675">
                  <c:v>-0.03420142162347839</c:v>
                </c:pt>
                <c:pt idx="676">
                  <c:v>-0.036863637587992826</c:v>
                </c:pt>
                <c:pt idx="677">
                  <c:v>-0.036863637587992826</c:v>
                </c:pt>
                <c:pt idx="678">
                  <c:v>-0.036863637587992826</c:v>
                </c:pt>
                <c:pt idx="679">
                  <c:v>-0.03439861415610157</c:v>
                </c:pt>
                <c:pt idx="680">
                  <c:v>-0.02897546918665972</c:v>
                </c:pt>
                <c:pt idx="681">
                  <c:v>-0.027792391840321562</c:v>
                </c:pt>
                <c:pt idx="682">
                  <c:v>-0.034299978965089406</c:v>
                </c:pt>
                <c:pt idx="683">
                  <c:v>-0.03380703655823192</c:v>
                </c:pt>
                <c:pt idx="684">
                  <c:v>-0.03380703655823192</c:v>
                </c:pt>
                <c:pt idx="685">
                  <c:v>-0.03380703655823192</c:v>
                </c:pt>
                <c:pt idx="686">
                  <c:v>-0.030355894764422908</c:v>
                </c:pt>
                <c:pt idx="687">
                  <c:v>-0.02720065854365017</c:v>
                </c:pt>
                <c:pt idx="688">
                  <c:v>-0.025918868156899033</c:v>
                </c:pt>
                <c:pt idx="689">
                  <c:v>-0.03203214806582144</c:v>
                </c:pt>
                <c:pt idx="690">
                  <c:v>-0.02187638231342315</c:v>
                </c:pt>
                <c:pt idx="691">
                  <c:v>-0.02187638231342315</c:v>
                </c:pt>
                <c:pt idx="692">
                  <c:v>-0.02187638231342315</c:v>
                </c:pt>
                <c:pt idx="693">
                  <c:v>-0.02000278078059947</c:v>
                </c:pt>
                <c:pt idx="694">
                  <c:v>-0.026806429177205437</c:v>
                </c:pt>
                <c:pt idx="695">
                  <c:v>-0.04287828230590285</c:v>
                </c:pt>
                <c:pt idx="696">
                  <c:v>-0.04514619105457185</c:v>
                </c:pt>
                <c:pt idx="697">
                  <c:v>-0.047118116380803654</c:v>
                </c:pt>
                <c:pt idx="698">
                  <c:v>-0.047118116380803654</c:v>
                </c:pt>
                <c:pt idx="699">
                  <c:v>-0.047118116380803654</c:v>
                </c:pt>
                <c:pt idx="700">
                  <c:v>-0.04070908659764694</c:v>
                </c:pt>
                <c:pt idx="701">
                  <c:v>-0.04623063320989795</c:v>
                </c:pt>
                <c:pt idx="702">
                  <c:v>-0.05027343045097743</c:v>
                </c:pt>
                <c:pt idx="703">
                  <c:v>-0.04879429183280115</c:v>
                </c:pt>
                <c:pt idx="704">
                  <c:v>-0.052344068817622214</c:v>
                </c:pt>
                <c:pt idx="705">
                  <c:v>-0.052344068817622214</c:v>
                </c:pt>
                <c:pt idx="706">
                  <c:v>-0.052344068817622214</c:v>
                </c:pt>
                <c:pt idx="707">
                  <c:v>-0.050470545134199574</c:v>
                </c:pt>
                <c:pt idx="708">
                  <c:v>-0.06210552735417496</c:v>
                </c:pt>
                <c:pt idx="709">
                  <c:v>-0.06930340511722544</c:v>
                </c:pt>
                <c:pt idx="710">
                  <c:v>-0.07541676287554888</c:v>
                </c:pt>
                <c:pt idx="711">
                  <c:v>-0.07581114794079524</c:v>
                </c:pt>
                <c:pt idx="712">
                  <c:v>-0.07581114794079524</c:v>
                </c:pt>
                <c:pt idx="713">
                  <c:v>-0.07581114794079524</c:v>
                </c:pt>
                <c:pt idx="714">
                  <c:v>-0.07097965841862386</c:v>
                </c:pt>
                <c:pt idx="715">
                  <c:v>-0.07305029678526875</c:v>
                </c:pt>
                <c:pt idx="716">
                  <c:v>-0.06210552735417507</c:v>
                </c:pt>
                <c:pt idx="717">
                  <c:v>-0.07403625944838477</c:v>
                </c:pt>
                <c:pt idx="718">
                  <c:v>-0.06841599979572066</c:v>
                </c:pt>
                <c:pt idx="719">
                  <c:v>-0.06841599979572066</c:v>
                </c:pt>
                <c:pt idx="720">
                  <c:v>-0.06841599979572066</c:v>
                </c:pt>
                <c:pt idx="721">
                  <c:v>-0.06121819988207122</c:v>
                </c:pt>
                <c:pt idx="722">
                  <c:v>-0.04790696436069741</c:v>
                </c:pt>
                <c:pt idx="723">
                  <c:v>-0.045540498270417396</c:v>
                </c:pt>
                <c:pt idx="724">
                  <c:v>-0.048498541958567065</c:v>
                </c:pt>
                <c:pt idx="725">
                  <c:v>-0.045836403843453555</c:v>
                </c:pt>
                <c:pt idx="726">
                  <c:v>-0.045836403843453555</c:v>
                </c:pt>
                <c:pt idx="727">
                  <c:v>-0.045836403843453555</c:v>
                </c:pt>
                <c:pt idx="728">
                  <c:v>-0.045836403843453555</c:v>
                </c:pt>
                <c:pt idx="729">
                  <c:v>-0.051358028305105496</c:v>
                </c:pt>
                <c:pt idx="730">
                  <c:v>-0.05687965276675744</c:v>
                </c:pt>
                <c:pt idx="731">
                  <c:v>-0.06042927405277665</c:v>
                </c:pt>
                <c:pt idx="732">
                  <c:v>-0.0600348889875304</c:v>
                </c:pt>
                <c:pt idx="733">
                  <c:v>-0.0600348889875304</c:v>
                </c:pt>
                <c:pt idx="734">
                  <c:v>-0.0600348889875304</c:v>
                </c:pt>
                <c:pt idx="735">
                  <c:v>-0.051949683752376186</c:v>
                </c:pt>
                <c:pt idx="736">
                  <c:v>-0.0564852677015113</c:v>
                </c:pt>
                <c:pt idx="737">
                  <c:v>-0.056189439977875955</c:v>
                </c:pt>
                <c:pt idx="738">
                  <c:v>-0.04751257929545116</c:v>
                </c:pt>
                <c:pt idx="739">
                  <c:v>-0.05520347731476005</c:v>
                </c:pt>
                <c:pt idx="740">
                  <c:v>-0.05520347731476005</c:v>
                </c:pt>
                <c:pt idx="741">
                  <c:v>-0.05520347731476005</c:v>
                </c:pt>
                <c:pt idx="742">
                  <c:v>-0.056189439977875955</c:v>
                </c:pt>
                <c:pt idx="743">
                  <c:v>-0.05826007834452085</c:v>
                </c:pt>
                <c:pt idx="744">
                  <c:v>-0.06437335825344326</c:v>
                </c:pt>
                <c:pt idx="745">
                  <c:v>-0.07985378948307309</c:v>
                </c:pt>
                <c:pt idx="746">
                  <c:v>-0.0804452892315417</c:v>
                </c:pt>
                <c:pt idx="747">
                  <c:v>-0.0804452892315417</c:v>
                </c:pt>
                <c:pt idx="748">
                  <c:v>-0.0804452892315417</c:v>
                </c:pt>
                <c:pt idx="749">
                  <c:v>-0.0792620561864017</c:v>
                </c:pt>
                <c:pt idx="750">
                  <c:v>-0.09267192689878756</c:v>
                </c:pt>
                <c:pt idx="751">
                  <c:v>-0.09227746398414016</c:v>
                </c:pt>
                <c:pt idx="752">
                  <c:v>-0.0866572821808771</c:v>
                </c:pt>
                <c:pt idx="753">
                  <c:v>-0.08922078510497844</c:v>
                </c:pt>
                <c:pt idx="754">
                  <c:v>-0.08922078510497844</c:v>
                </c:pt>
                <c:pt idx="755">
                  <c:v>-0.08922078510497844</c:v>
                </c:pt>
                <c:pt idx="756">
                  <c:v>-0.09326350449665699</c:v>
                </c:pt>
                <c:pt idx="757">
                  <c:v>-0.10539142912348975</c:v>
                </c:pt>
                <c:pt idx="758">
                  <c:v>-0.10154605796323635</c:v>
                </c:pt>
                <c:pt idx="759">
                  <c:v>-0.09927814921456735</c:v>
                </c:pt>
                <c:pt idx="760">
                  <c:v>-0.08813618725085048</c:v>
                </c:pt>
                <c:pt idx="761">
                  <c:v>-0.08813618725085048</c:v>
                </c:pt>
                <c:pt idx="762">
                  <c:v>-0.08813618725085048</c:v>
                </c:pt>
                <c:pt idx="763">
                  <c:v>-0.08488247153786743</c:v>
                </c:pt>
                <c:pt idx="764">
                  <c:v>-0.07719157351855865</c:v>
                </c:pt>
                <c:pt idx="765">
                  <c:v>-0.07295166159425681</c:v>
                </c:pt>
                <c:pt idx="766">
                  <c:v>-0.08005090416629512</c:v>
                </c:pt>
                <c:pt idx="767">
                  <c:v>-0.0852768566031138</c:v>
                </c:pt>
                <c:pt idx="768">
                  <c:v>-0.0852768566031138</c:v>
                </c:pt>
                <c:pt idx="769">
                  <c:v>-0.0852768566031138</c:v>
                </c:pt>
                <c:pt idx="770">
                  <c:v>-0.07689566794552238</c:v>
                </c:pt>
                <c:pt idx="771">
                  <c:v>-0.07650128288027602</c:v>
                </c:pt>
                <c:pt idx="772">
                  <c:v>-0.08971388321063778</c:v>
                </c:pt>
                <c:pt idx="773">
                  <c:v>-0.09789780148620508</c:v>
                </c:pt>
                <c:pt idx="774">
                  <c:v>-0.10864522268587373</c:v>
                </c:pt>
                <c:pt idx="775">
                  <c:v>-0.10864522268587373</c:v>
                </c:pt>
                <c:pt idx="776">
                  <c:v>-0.10864522268587373</c:v>
                </c:pt>
                <c:pt idx="777">
                  <c:v>-0.10933543547475533</c:v>
                </c:pt>
                <c:pt idx="778">
                  <c:v>-0.10282792619938841</c:v>
                </c:pt>
                <c:pt idx="779">
                  <c:v>-0.11426556018793876</c:v>
                </c:pt>
                <c:pt idx="780">
                  <c:v>-0.12333688378501084</c:v>
                </c:pt>
                <c:pt idx="781">
                  <c:v>-0.1264921200057837</c:v>
                </c:pt>
                <c:pt idx="782">
                  <c:v>-0.1264921200057837</c:v>
                </c:pt>
                <c:pt idx="783">
                  <c:v>-0.1264921200057837</c:v>
                </c:pt>
                <c:pt idx="784">
                  <c:v>-0.11633619855458366</c:v>
                </c:pt>
                <c:pt idx="785">
                  <c:v>-0.1123921922033182</c:v>
                </c:pt>
                <c:pt idx="786">
                  <c:v>-0.10351806113886941</c:v>
                </c:pt>
                <c:pt idx="787">
                  <c:v>-0.0857697990099715</c:v>
                </c:pt>
                <c:pt idx="788">
                  <c:v>-0.07521957034292603</c:v>
                </c:pt>
                <c:pt idx="789">
                  <c:v>-0.07521957034292603</c:v>
                </c:pt>
                <c:pt idx="790">
                  <c:v>-0.07521957034292603</c:v>
                </c:pt>
                <c:pt idx="791">
                  <c:v>-0.07443072236303239</c:v>
                </c:pt>
                <c:pt idx="792">
                  <c:v>-0.0749237426192908</c:v>
                </c:pt>
                <c:pt idx="793">
                  <c:v>-0.07512085730251306</c:v>
                </c:pt>
                <c:pt idx="794">
                  <c:v>-0.08064255961356603</c:v>
                </c:pt>
                <c:pt idx="795">
                  <c:v>-0.07009225309711975</c:v>
                </c:pt>
                <c:pt idx="796">
                  <c:v>-0.07009225309711975</c:v>
                </c:pt>
                <c:pt idx="797">
                  <c:v>-0.07009225309711975</c:v>
                </c:pt>
                <c:pt idx="798">
                  <c:v>-0.06989498271509553</c:v>
                </c:pt>
                <c:pt idx="799">
                  <c:v>-0.04958321766209639</c:v>
                </c:pt>
                <c:pt idx="800">
                  <c:v>-0.04761121448646366</c:v>
                </c:pt>
                <c:pt idx="801">
                  <c:v>-0.04830134942594433</c:v>
                </c:pt>
                <c:pt idx="802">
                  <c:v>-0.04406159320044445</c:v>
                </c:pt>
                <c:pt idx="803">
                  <c:v>-0.04406159320044445</c:v>
                </c:pt>
                <c:pt idx="804">
                  <c:v>-0.04406159320044445</c:v>
                </c:pt>
                <c:pt idx="805">
                  <c:v>-0.03735665784425157</c:v>
                </c:pt>
                <c:pt idx="806">
                  <c:v>-0.03992031646715477</c:v>
                </c:pt>
                <c:pt idx="807">
                  <c:v>-0.037258100502640334</c:v>
                </c:pt>
                <c:pt idx="808">
                  <c:v>-0.037258100502640334</c:v>
                </c:pt>
                <c:pt idx="809">
                  <c:v>-0.034891634412360206</c:v>
                </c:pt>
                <c:pt idx="810">
                  <c:v>-0.034891634412360206</c:v>
                </c:pt>
                <c:pt idx="811">
                  <c:v>-0.034891634412360206</c:v>
                </c:pt>
                <c:pt idx="812">
                  <c:v>-0.03745521518586259</c:v>
                </c:pt>
                <c:pt idx="813">
                  <c:v>-0.035877674924877145</c:v>
                </c:pt>
                <c:pt idx="814">
                  <c:v>-0.03597623226648827</c:v>
                </c:pt>
                <c:pt idx="815">
                  <c:v>-0.03351120883459713</c:v>
                </c:pt>
                <c:pt idx="816">
                  <c:v>-0.026313253222145838</c:v>
                </c:pt>
                <c:pt idx="817">
                  <c:v>-0.026313253222145838</c:v>
                </c:pt>
                <c:pt idx="818">
                  <c:v>-0.026313253222145838</c:v>
                </c:pt>
                <c:pt idx="819">
                  <c:v>-0.032328053638858156</c:v>
                </c:pt>
                <c:pt idx="820">
                  <c:v>-0.034201421623478834</c:v>
                </c:pt>
                <c:pt idx="821">
                  <c:v>-0.03607486745750044</c:v>
                </c:pt>
                <c:pt idx="822">
                  <c:v>-0.0298630302069669</c:v>
                </c:pt>
                <c:pt idx="823">
                  <c:v>-0.026707716136793125</c:v>
                </c:pt>
                <c:pt idx="824">
                  <c:v>-0.026707716136793125</c:v>
                </c:pt>
                <c:pt idx="825">
                  <c:v>-0.026707716136793125</c:v>
                </c:pt>
                <c:pt idx="826">
                  <c:v>-0.023256730041786078</c:v>
                </c:pt>
                <c:pt idx="827">
                  <c:v>-0.020101415971612413</c:v>
                </c:pt>
                <c:pt idx="828">
                  <c:v>-0.006592987917615534</c:v>
                </c:pt>
                <c:pt idx="829">
                  <c:v>-0.00018403598385974274</c:v>
                </c:pt>
                <c:pt idx="830">
                  <c:v>-0.004423870058760548</c:v>
                </c:pt>
                <c:pt idx="831">
                  <c:v>-0.004423870058760548</c:v>
                </c:pt>
                <c:pt idx="832">
                  <c:v>-0.004423870058760548</c:v>
                </c:pt>
                <c:pt idx="833">
                  <c:v>1.323439816447447e-05</c:v>
                </c:pt>
                <c:pt idx="834">
                  <c:v>0.007211112161215061</c:v>
                </c:pt>
                <c:pt idx="835">
                  <c:v>-0.006803959794207781</c:v>
                </c:pt>
                <c:pt idx="836">
                  <c:v>0.005638398563089009</c:v>
                </c:pt>
                <c:pt idx="837">
                  <c:v>0.007131472224036539</c:v>
                </c:pt>
                <c:pt idx="838">
                  <c:v>0.007131472224036539</c:v>
                </c:pt>
                <c:pt idx="839">
                  <c:v>0.007131472224036539</c:v>
                </c:pt>
                <c:pt idx="840">
                  <c:v>0.007131472224036539</c:v>
                </c:pt>
                <c:pt idx="841">
                  <c:v>0.012008892892772183</c:v>
                </c:pt>
                <c:pt idx="842">
                  <c:v>0.014895392981442601</c:v>
                </c:pt>
                <c:pt idx="843">
                  <c:v>0.014895392981442601</c:v>
                </c:pt>
                <c:pt idx="844">
                  <c:v>0.013004197484002722</c:v>
                </c:pt>
                <c:pt idx="845">
                  <c:v>0.013004197484002722</c:v>
                </c:pt>
                <c:pt idx="846">
                  <c:v>0.013004197484002722</c:v>
                </c:pt>
                <c:pt idx="847">
                  <c:v>0.013004197484002722</c:v>
                </c:pt>
                <c:pt idx="848">
                  <c:v>0.004344385820387542</c:v>
                </c:pt>
                <c:pt idx="849">
                  <c:v>-0.003618751554066768</c:v>
                </c:pt>
                <c:pt idx="850">
                  <c:v>-0.004713625529121024</c:v>
                </c:pt>
                <c:pt idx="851">
                  <c:v>-0.003817734622911906</c:v>
                </c:pt>
                <c:pt idx="852">
                  <c:v>-0.003817734622911906</c:v>
                </c:pt>
                <c:pt idx="853">
                  <c:v>-0.003817734622911906</c:v>
                </c:pt>
                <c:pt idx="854">
                  <c:v>0.008126854664668004</c:v>
                </c:pt>
                <c:pt idx="855">
                  <c:v>0.003548142147402844</c:v>
                </c:pt>
                <c:pt idx="856">
                  <c:v>0.008226424048491499</c:v>
                </c:pt>
                <c:pt idx="857">
                  <c:v>0.007728654978774729</c:v>
                </c:pt>
                <c:pt idx="858">
                  <c:v>0.009818989243861598</c:v>
                </c:pt>
                <c:pt idx="859">
                  <c:v>0.009818989243861598</c:v>
                </c:pt>
                <c:pt idx="860">
                  <c:v>0.009818989243861598</c:v>
                </c:pt>
                <c:pt idx="861">
                  <c:v>0.009818989243861598</c:v>
                </c:pt>
                <c:pt idx="862">
                  <c:v>0.0009601166620001322</c:v>
                </c:pt>
                <c:pt idx="863">
                  <c:v>-0.006704390410384398</c:v>
                </c:pt>
                <c:pt idx="864">
                  <c:v>0.001955499102631819</c:v>
                </c:pt>
                <c:pt idx="865">
                  <c:v>0.01200889289277196</c:v>
                </c:pt>
                <c:pt idx="866">
                  <c:v>0.01200889289277196</c:v>
                </c:pt>
                <c:pt idx="867">
                  <c:v>0.01200889289277196</c:v>
                </c:pt>
                <c:pt idx="868">
                  <c:v>0.013601535937542986</c:v>
                </c:pt>
                <c:pt idx="869">
                  <c:v>0.01569179235322893</c:v>
                </c:pt>
                <c:pt idx="870">
                  <c:v>0.019076061511616338</c:v>
                </c:pt>
                <c:pt idx="871">
                  <c:v>0.023157238507367506</c:v>
                </c:pt>
                <c:pt idx="872">
                  <c:v>0.024052973714774772</c:v>
                </c:pt>
                <c:pt idx="873">
                  <c:v>0.024052973714774772</c:v>
                </c:pt>
                <c:pt idx="874">
                  <c:v>0.024052973714774772</c:v>
                </c:pt>
                <c:pt idx="875">
                  <c:v>0.030821589880950295</c:v>
                </c:pt>
                <c:pt idx="876">
                  <c:v>0.029129533151157627</c:v>
                </c:pt>
                <c:pt idx="877">
                  <c:v>0.01579128388765194</c:v>
                </c:pt>
                <c:pt idx="878">
                  <c:v>0.028432703163194795</c:v>
                </c:pt>
                <c:pt idx="879">
                  <c:v>0.03261337169336875</c:v>
                </c:pt>
                <c:pt idx="880">
                  <c:v>0.03261337169336875</c:v>
                </c:pt>
                <c:pt idx="881">
                  <c:v>0.03261337169336875</c:v>
                </c:pt>
                <c:pt idx="882">
                  <c:v>0.028631841930842006</c:v>
                </c:pt>
                <c:pt idx="883">
                  <c:v>0.034604136574631905</c:v>
                </c:pt>
                <c:pt idx="884">
                  <c:v>0.0398796790798599</c:v>
                </c:pt>
                <c:pt idx="885">
                  <c:v>0.039680540312212687</c:v>
                </c:pt>
                <c:pt idx="886">
                  <c:v>0.04525471311951046</c:v>
                </c:pt>
                <c:pt idx="887">
                  <c:v>0.04525471311951046</c:v>
                </c:pt>
                <c:pt idx="888">
                  <c:v>0.04525471311951046</c:v>
                </c:pt>
                <c:pt idx="889">
                  <c:v>0.04654880371161285</c:v>
                </c:pt>
                <c:pt idx="890">
                  <c:v>0.029925776824142325</c:v>
                </c:pt>
                <c:pt idx="891">
                  <c:v>0.04127318335698371</c:v>
                </c:pt>
                <c:pt idx="892">
                  <c:v>0.049634364718529334</c:v>
                </c:pt>
                <c:pt idx="893">
                  <c:v>0.04704649493192847</c:v>
                </c:pt>
                <c:pt idx="894">
                  <c:v>0.04704649493192847</c:v>
                </c:pt>
                <c:pt idx="895">
                  <c:v>0.04704649493192847</c:v>
                </c:pt>
                <c:pt idx="896">
                  <c:v>0.04704649493192847</c:v>
                </c:pt>
                <c:pt idx="897">
                  <c:v>0.04406026976063249</c:v>
                </c:pt>
                <c:pt idx="898">
                  <c:v>0.044358900062702045</c:v>
                </c:pt>
                <c:pt idx="899">
                  <c:v>0.062375431227296385</c:v>
                </c:pt>
                <c:pt idx="900">
                  <c:v>0.06277347521438759</c:v>
                </c:pt>
                <c:pt idx="901">
                  <c:v>0.06277347521438759</c:v>
                </c:pt>
                <c:pt idx="902">
                  <c:v>0.06277347521438759</c:v>
                </c:pt>
                <c:pt idx="903">
                  <c:v>0.05988697512571717</c:v>
                </c:pt>
                <c:pt idx="904">
                  <c:v>0.06197723154140311</c:v>
                </c:pt>
                <c:pt idx="905">
                  <c:v>0.05749801055856074</c:v>
                </c:pt>
                <c:pt idx="906">
                  <c:v>0.061579109704910984</c:v>
                </c:pt>
                <c:pt idx="907">
                  <c:v>0.07183156441329719</c:v>
                </c:pt>
                <c:pt idx="908">
                  <c:v>0.07183156441329719</c:v>
                </c:pt>
                <c:pt idx="909">
                  <c:v>0.07183156441329719</c:v>
                </c:pt>
                <c:pt idx="910">
                  <c:v>0.07023892136852616</c:v>
                </c:pt>
                <c:pt idx="911">
                  <c:v>0.061579109704910984</c:v>
                </c:pt>
                <c:pt idx="912">
                  <c:v>0.06984079953203404</c:v>
                </c:pt>
                <c:pt idx="913">
                  <c:v>0.08098906729722843</c:v>
                </c:pt>
                <c:pt idx="914">
                  <c:v>0.07571352479200044</c:v>
                </c:pt>
                <c:pt idx="915">
                  <c:v>0.07571352479200044</c:v>
                </c:pt>
                <c:pt idx="916">
                  <c:v>0.07571352479200044</c:v>
                </c:pt>
                <c:pt idx="917">
                  <c:v>0.073523698992491</c:v>
                </c:pt>
                <c:pt idx="918">
                  <c:v>0.0843734921544177</c:v>
                </c:pt>
                <c:pt idx="919">
                  <c:v>0.08297991002789273</c:v>
                </c:pt>
                <c:pt idx="920">
                  <c:v>0.07869974996329643</c:v>
                </c:pt>
                <c:pt idx="921">
                  <c:v>0.07322514653982237</c:v>
                </c:pt>
                <c:pt idx="922">
                  <c:v>0.07322514653982237</c:v>
                </c:pt>
                <c:pt idx="923">
                  <c:v>0.07322514653982237</c:v>
                </c:pt>
                <c:pt idx="924">
                  <c:v>0.07760479813884125</c:v>
                </c:pt>
                <c:pt idx="925">
                  <c:v>0.08138726698312171</c:v>
                </c:pt>
                <c:pt idx="926">
                  <c:v>0.09233655167947075</c:v>
                </c:pt>
                <c:pt idx="927">
                  <c:v>0.09472543839722647</c:v>
                </c:pt>
                <c:pt idx="928">
                  <c:v>0.09213741291182376</c:v>
                </c:pt>
                <c:pt idx="929">
                  <c:v>0.09213741291182376</c:v>
                </c:pt>
                <c:pt idx="930">
                  <c:v>0.09213741291182376</c:v>
                </c:pt>
                <c:pt idx="931">
                  <c:v>0.08994758711231432</c:v>
                </c:pt>
                <c:pt idx="932">
                  <c:v>0.08845451345136679</c:v>
                </c:pt>
                <c:pt idx="933">
                  <c:v>0.09641757297642006</c:v>
                </c:pt>
                <c:pt idx="934">
                  <c:v>0.09621843420877307</c:v>
                </c:pt>
                <c:pt idx="935">
                  <c:v>0.09621843420877307</c:v>
                </c:pt>
                <c:pt idx="936">
                  <c:v>0.09621843420877307</c:v>
                </c:pt>
                <c:pt idx="937">
                  <c:v>0.09621843420877307</c:v>
                </c:pt>
                <c:pt idx="938">
                  <c:v>0.09363048657277129</c:v>
                </c:pt>
                <c:pt idx="939">
                  <c:v>0.08716050070866554</c:v>
                </c:pt>
                <c:pt idx="940">
                  <c:v>0.08974852619406826</c:v>
                </c:pt>
                <c:pt idx="941">
                  <c:v>0.078799241497719</c:v>
                </c:pt>
                <c:pt idx="942">
                  <c:v>0.08726007009248904</c:v>
                </c:pt>
                <c:pt idx="943">
                  <c:v>0.08726007009248904</c:v>
                </c:pt>
                <c:pt idx="944">
                  <c:v>0.08726007009248904</c:v>
                </c:pt>
                <c:pt idx="945">
                  <c:v>0.08954938742642127</c:v>
                </c:pt>
                <c:pt idx="946">
                  <c:v>0.09114210832059322</c:v>
                </c:pt>
                <c:pt idx="947">
                  <c:v>0.07869974996329643</c:v>
                </c:pt>
                <c:pt idx="948">
                  <c:v>0.0850702442929796</c:v>
                </c:pt>
                <c:pt idx="949">
                  <c:v>0.0683477258710865</c:v>
                </c:pt>
                <c:pt idx="950">
                  <c:v>0.0683477258710865</c:v>
                </c:pt>
                <c:pt idx="951">
                  <c:v>0.0683477258710865</c:v>
                </c:pt>
                <c:pt idx="952">
                  <c:v>0.057995701778876585</c:v>
                </c:pt>
                <c:pt idx="953">
                  <c:v>0.05242152897157881</c:v>
                </c:pt>
                <c:pt idx="954">
                  <c:v>0.048539490743474856</c:v>
                </c:pt>
                <c:pt idx="955">
                  <c:v>0.04704649493192825</c:v>
                </c:pt>
                <c:pt idx="956">
                  <c:v>0.04057650906782251</c:v>
                </c:pt>
                <c:pt idx="957">
                  <c:v>0.04057650906782251</c:v>
                </c:pt>
                <c:pt idx="958">
                  <c:v>0.04057650906782251</c:v>
                </c:pt>
                <c:pt idx="959">
                  <c:v>0.05112751622887757</c:v>
                </c:pt>
                <c:pt idx="960">
                  <c:v>0.06287312244761223</c:v>
                </c:pt>
                <c:pt idx="961">
                  <c:v>0.062275939692873816</c:v>
                </c:pt>
                <c:pt idx="962">
                  <c:v>0.0589911620689092</c:v>
                </c:pt>
                <c:pt idx="963">
                  <c:v>0.06884541709140235</c:v>
                </c:pt>
                <c:pt idx="964">
                  <c:v>0.06884541709140235</c:v>
                </c:pt>
                <c:pt idx="965">
                  <c:v>0.06884541709140235</c:v>
                </c:pt>
                <c:pt idx="966">
                  <c:v>0.073523698992491</c:v>
                </c:pt>
                <c:pt idx="967">
                  <c:v>0.05729894964031468</c:v>
                </c:pt>
                <c:pt idx="968">
                  <c:v>0.0545118632366659</c:v>
                </c:pt>
                <c:pt idx="969">
                  <c:v>0.0676509737325246</c:v>
                </c:pt>
                <c:pt idx="970">
                  <c:v>0.07929693271803484</c:v>
                </c:pt>
                <c:pt idx="971">
                  <c:v>0.07929693271803484</c:v>
                </c:pt>
                <c:pt idx="972">
                  <c:v>0.07929693271803484</c:v>
                </c:pt>
                <c:pt idx="973">
                  <c:v>0.08905177405550613</c:v>
                </c:pt>
                <c:pt idx="974">
                  <c:v>0.08935032650817476</c:v>
                </c:pt>
                <c:pt idx="975">
                  <c:v>0.08875306590403542</c:v>
                </c:pt>
                <c:pt idx="976">
                  <c:v>0.09532262115196466</c:v>
                </c:pt>
                <c:pt idx="977">
                  <c:v>0.09671620327848962</c:v>
                </c:pt>
                <c:pt idx="978">
                  <c:v>0.09671620327848962</c:v>
                </c:pt>
                <c:pt idx="979">
                  <c:v>0.09671620327848962</c:v>
                </c:pt>
                <c:pt idx="980">
                  <c:v>0.09741295541705175</c:v>
                </c:pt>
                <c:pt idx="981">
                  <c:v>0.10348481944466537</c:v>
                </c:pt>
                <c:pt idx="982">
                  <c:v>0.1161261608708073</c:v>
                </c:pt>
                <c:pt idx="983">
                  <c:v>0.11383684353687529</c:v>
                </c:pt>
                <c:pt idx="984">
                  <c:v>0.116424869022278</c:v>
                </c:pt>
                <c:pt idx="985">
                  <c:v>0.116424869022278</c:v>
                </c:pt>
                <c:pt idx="986">
                  <c:v>0.116424869022278</c:v>
                </c:pt>
                <c:pt idx="987">
                  <c:v>0.1171216211608399</c:v>
                </c:pt>
                <c:pt idx="988">
                  <c:v>0.11732068207908619</c:v>
                </c:pt>
                <c:pt idx="989">
                  <c:v>0.1120451395738582</c:v>
                </c:pt>
                <c:pt idx="990">
                  <c:v>0.10467934065294426</c:v>
                </c:pt>
                <c:pt idx="991">
                  <c:v>0.11184607865561214</c:v>
                </c:pt>
                <c:pt idx="992">
                  <c:v>0.11184607865561214</c:v>
                </c:pt>
                <c:pt idx="993">
                  <c:v>0.11184607865561214</c:v>
                </c:pt>
                <c:pt idx="994">
                  <c:v>0.11184607865561214</c:v>
                </c:pt>
                <c:pt idx="995">
                  <c:v>0.11214463110828099</c:v>
                </c:pt>
                <c:pt idx="996">
                  <c:v>0.1008967939592631</c:v>
                </c:pt>
                <c:pt idx="997">
                  <c:v>0.09810978540501525</c:v>
                </c:pt>
                <c:pt idx="998">
                  <c:v>0.10567464524417525</c:v>
                </c:pt>
                <c:pt idx="999">
                  <c:v>0.10567464524417525</c:v>
                </c:pt>
                <c:pt idx="1000">
                  <c:v>0.10567464524417525</c:v>
                </c:pt>
                <c:pt idx="1001">
                  <c:v>0.10786454889308561</c:v>
                </c:pt>
                <c:pt idx="1002">
                  <c:v>0.10637147523213808</c:v>
                </c:pt>
                <c:pt idx="1003">
                  <c:v>0.1191123860421035</c:v>
                </c:pt>
                <c:pt idx="1004">
                  <c:v>0.12020733786655868</c:v>
                </c:pt>
                <c:pt idx="1005">
                  <c:v>0.11463324290866206</c:v>
                </c:pt>
                <c:pt idx="1006">
                  <c:v>0.11463324290866206</c:v>
                </c:pt>
                <c:pt idx="1007">
                  <c:v>0.11463324290866206</c:v>
                </c:pt>
                <c:pt idx="1008">
                  <c:v>0.11791794268322575</c:v>
                </c:pt>
                <c:pt idx="1009">
                  <c:v>0.11565953156147346</c:v>
                </c:pt>
                <c:pt idx="1010">
                  <c:v>0.12639955706805117</c:v>
                </c:pt>
                <c:pt idx="1011">
                  <c:v>0.12288644715108066</c:v>
                </c:pt>
                <c:pt idx="1012">
                  <c:v>0.12077859677077862</c:v>
                </c:pt>
                <c:pt idx="1013">
                  <c:v>0.12077859677077862</c:v>
                </c:pt>
                <c:pt idx="1014">
                  <c:v>0.12077859677077862</c:v>
                </c:pt>
                <c:pt idx="1015">
                  <c:v>0.12790516448255262</c:v>
                </c:pt>
                <c:pt idx="1016">
                  <c:v>0.13252241245329133</c:v>
                </c:pt>
                <c:pt idx="1017">
                  <c:v>0.13252241245329133</c:v>
                </c:pt>
                <c:pt idx="1018">
                  <c:v>0.13021371061852105</c:v>
                </c:pt>
                <c:pt idx="1019">
                  <c:v>0.12569696622441762</c:v>
                </c:pt>
                <c:pt idx="1020">
                  <c:v>0.12569696622441762</c:v>
                </c:pt>
                <c:pt idx="1021">
                  <c:v>0.12569696622441762</c:v>
                </c:pt>
                <c:pt idx="1022">
                  <c:v>0.12670060070155054</c:v>
                </c:pt>
                <c:pt idx="1023">
                  <c:v>0.13011336274068785</c:v>
                </c:pt>
                <c:pt idx="1024">
                  <c:v>0.12880845108185257</c:v>
                </c:pt>
                <c:pt idx="1025">
                  <c:v>0.13041456207298907</c:v>
                </c:pt>
                <c:pt idx="1026">
                  <c:v>0.12820628596545292</c:v>
                </c:pt>
                <c:pt idx="1027">
                  <c:v>0.12820628596545292</c:v>
                </c:pt>
                <c:pt idx="1028">
                  <c:v>0.12820628596545292</c:v>
                </c:pt>
                <c:pt idx="1029">
                  <c:v>0.13011336274068785</c:v>
                </c:pt>
                <c:pt idx="1030">
                  <c:v>0.1361357923986941</c:v>
                </c:pt>
                <c:pt idx="1031">
                  <c:v>0.14436657601363723</c:v>
                </c:pt>
                <c:pt idx="1032">
                  <c:v>0.14436657601363723</c:v>
                </c:pt>
                <c:pt idx="1033">
                  <c:v>0.15089090075961065</c:v>
                </c:pt>
                <c:pt idx="1034">
                  <c:v>0.15089090075961065</c:v>
                </c:pt>
                <c:pt idx="1035">
                  <c:v>0.15089090075961065</c:v>
                </c:pt>
                <c:pt idx="1036">
                  <c:v>0.15089090075961065</c:v>
                </c:pt>
                <c:pt idx="1037">
                  <c:v>0.15058962357790828</c:v>
                </c:pt>
                <c:pt idx="1038">
                  <c:v>0.1623335171098219</c:v>
                </c:pt>
                <c:pt idx="1039">
                  <c:v>0.1578166170169164</c:v>
                </c:pt>
                <c:pt idx="1040">
                  <c:v>0.1662480963875257</c:v>
                </c:pt>
                <c:pt idx="1041">
                  <c:v>0.1662480963875257</c:v>
                </c:pt>
                <c:pt idx="1042">
                  <c:v>0.1662480963875257</c:v>
                </c:pt>
                <c:pt idx="1043">
                  <c:v>0.16504353260652338</c:v>
                </c:pt>
                <c:pt idx="1044">
                  <c:v>0.17126681371899766</c:v>
                </c:pt>
                <c:pt idx="1045">
                  <c:v>0.15651178320748182</c:v>
                </c:pt>
                <c:pt idx="1046">
                  <c:v>0.146675122149605</c:v>
                </c:pt>
                <c:pt idx="1047">
                  <c:v>0.13914708507709728</c:v>
                </c:pt>
                <c:pt idx="1048">
                  <c:v>0.13914708507709728</c:v>
                </c:pt>
                <c:pt idx="1049">
                  <c:v>0.13914708507709728</c:v>
                </c:pt>
                <c:pt idx="1050">
                  <c:v>0.15089090075960998</c:v>
                </c:pt>
                <c:pt idx="1051">
                  <c:v>0.14697624363250505</c:v>
                </c:pt>
                <c:pt idx="1052">
                  <c:v>0.12439197671618052</c:v>
                </c:pt>
                <c:pt idx="1053">
                  <c:v>0.11867066854107478</c:v>
                </c:pt>
                <c:pt idx="1054">
                  <c:v>0.13192009163808893</c:v>
                </c:pt>
                <c:pt idx="1055">
                  <c:v>0.13192009163808893</c:v>
                </c:pt>
                <c:pt idx="1056">
                  <c:v>0.13192009163808893</c:v>
                </c:pt>
                <c:pt idx="1057">
                  <c:v>0.13091630146215394</c:v>
                </c:pt>
                <c:pt idx="1058">
                  <c:v>0.12710222576108499</c:v>
                </c:pt>
                <c:pt idx="1059">
                  <c:v>0.14557098409583635</c:v>
                </c:pt>
                <c:pt idx="1060">
                  <c:v>0.1251950711364489</c:v>
                </c:pt>
                <c:pt idx="1061">
                  <c:v>0.10542124544406017</c:v>
                </c:pt>
                <c:pt idx="1062">
                  <c:v>0.10542124544406017</c:v>
                </c:pt>
                <c:pt idx="1063">
                  <c:v>0.10542124544406017</c:v>
                </c:pt>
                <c:pt idx="1064">
                  <c:v>0.07641315735839704</c:v>
                </c:pt>
                <c:pt idx="1065">
                  <c:v>0.08374049867523836</c:v>
                </c:pt>
                <c:pt idx="1066">
                  <c:v>0.0817329961727693</c:v>
                </c:pt>
                <c:pt idx="1067">
                  <c:v>0.10451795884476023</c:v>
                </c:pt>
                <c:pt idx="1068">
                  <c:v>0.10943625044899807</c:v>
                </c:pt>
                <c:pt idx="1069">
                  <c:v>0.10943625044899807</c:v>
                </c:pt>
                <c:pt idx="1070">
                  <c:v>0.10943625044899807</c:v>
                </c:pt>
                <c:pt idx="1071">
                  <c:v>0.11023926701986575</c:v>
                </c:pt>
                <c:pt idx="1072">
                  <c:v>0.1273029215167507</c:v>
                </c:pt>
                <c:pt idx="1073">
                  <c:v>0.13031413634575384</c:v>
                </c:pt>
                <c:pt idx="1074">
                  <c:v>0.14828107744193897</c:v>
                </c:pt>
                <c:pt idx="1075">
                  <c:v>0.1522960824468771</c:v>
                </c:pt>
                <c:pt idx="1076">
                  <c:v>0.1522960824468771</c:v>
                </c:pt>
                <c:pt idx="1077">
                  <c:v>0.1522960824468771</c:v>
                </c:pt>
                <c:pt idx="1078">
                  <c:v>0.16383912452432248</c:v>
                </c:pt>
                <c:pt idx="1079">
                  <c:v>0.16092833542255347</c:v>
                </c:pt>
                <c:pt idx="1080">
                  <c:v>0.16695068723115858</c:v>
                </c:pt>
                <c:pt idx="1081">
                  <c:v>0.1577161912896814</c:v>
                </c:pt>
                <c:pt idx="1082">
                  <c:v>0.17337466409929903</c:v>
                </c:pt>
                <c:pt idx="1083">
                  <c:v>0.17337466409929903</c:v>
                </c:pt>
                <c:pt idx="1084">
                  <c:v>0.17337466409929903</c:v>
                </c:pt>
                <c:pt idx="1085">
                  <c:v>0.16905853761146084</c:v>
                </c:pt>
                <c:pt idx="1086">
                  <c:v>0.1713671615968302</c:v>
                </c:pt>
                <c:pt idx="1087">
                  <c:v>0.16494318472868974</c:v>
                </c:pt>
                <c:pt idx="1088">
                  <c:v>0.16594705275402566</c:v>
                </c:pt>
                <c:pt idx="1089">
                  <c:v>0.17417768067016692</c:v>
                </c:pt>
                <c:pt idx="1090">
                  <c:v>0.17417768067016692</c:v>
                </c:pt>
                <c:pt idx="1091">
                  <c:v>0.17417768067016692</c:v>
                </c:pt>
                <c:pt idx="1092">
                  <c:v>0.17417768067016692</c:v>
                </c:pt>
                <c:pt idx="1093">
                  <c:v>0.1516938394810765</c:v>
                </c:pt>
                <c:pt idx="1094">
                  <c:v>0.148180729564106</c:v>
                </c:pt>
                <c:pt idx="1095">
                  <c:v>0.14677554787683844</c:v>
                </c:pt>
                <c:pt idx="1096">
                  <c:v>0.12730292151675093</c:v>
                </c:pt>
                <c:pt idx="1097">
                  <c:v>0.12730292151675093</c:v>
                </c:pt>
                <c:pt idx="1098">
                  <c:v>0.12730292151675093</c:v>
                </c:pt>
                <c:pt idx="1099">
                  <c:v>0.13894638932143066</c:v>
                </c:pt>
                <c:pt idx="1100">
                  <c:v>0.14055226676436416</c:v>
                </c:pt>
                <c:pt idx="1101">
                  <c:v>0.15058962357790717</c:v>
                </c:pt>
                <c:pt idx="1102">
                  <c:v>0.16062713609025225</c:v>
                </c:pt>
                <c:pt idx="1103">
                  <c:v>0.16644886999259212</c:v>
                </c:pt>
                <c:pt idx="1104">
                  <c:v>0.16644886999259212</c:v>
                </c:pt>
                <c:pt idx="1105">
                  <c:v>0.16644886999259212</c:v>
                </c:pt>
                <c:pt idx="1106">
                  <c:v>0.17046387499753024</c:v>
                </c:pt>
                <c:pt idx="1107">
                  <c:v>0.16925931121652793</c:v>
                </c:pt>
                <c:pt idx="1108">
                  <c:v>0.16594705275402566</c:v>
                </c:pt>
                <c:pt idx="1109">
                  <c:v>0.1867245129235473</c:v>
                </c:pt>
                <c:pt idx="1110">
                  <c:v>0.18200691707497563</c:v>
                </c:pt>
                <c:pt idx="1111">
                  <c:v>0.18200691707497563</c:v>
                </c:pt>
                <c:pt idx="1112">
                  <c:v>0.18200691707497563</c:v>
                </c:pt>
                <c:pt idx="1113">
                  <c:v>0.18652366146907928</c:v>
                </c:pt>
                <c:pt idx="1114">
                  <c:v>0.19465394150738735</c:v>
                </c:pt>
                <c:pt idx="1115">
                  <c:v>0.1896353020253163</c:v>
                </c:pt>
                <c:pt idx="1116">
                  <c:v>0.20288464727292954</c:v>
                </c:pt>
                <c:pt idx="1117">
                  <c:v>0.20007420604899373</c:v>
                </c:pt>
                <c:pt idx="1118">
                  <c:v>0.20007420604899373</c:v>
                </c:pt>
                <c:pt idx="1119">
                  <c:v>0.20007420604899373</c:v>
                </c:pt>
                <c:pt idx="1120">
                  <c:v>0.19997385817116053</c:v>
                </c:pt>
                <c:pt idx="1121">
                  <c:v>0.19234539537141893</c:v>
                </c:pt>
                <c:pt idx="1122">
                  <c:v>0.19515583659535474</c:v>
                </c:pt>
                <c:pt idx="1123">
                  <c:v>0.18923383266458282</c:v>
                </c:pt>
                <c:pt idx="1124">
                  <c:v>0.19927126732752698</c:v>
                </c:pt>
                <c:pt idx="1125">
                  <c:v>0.19927126732752698</c:v>
                </c:pt>
                <c:pt idx="1126">
                  <c:v>0.19927126732752698</c:v>
                </c:pt>
                <c:pt idx="1127">
                  <c:v>0.1917432302550195</c:v>
                </c:pt>
                <c:pt idx="1128">
                  <c:v>0.1948547929618556</c:v>
                </c:pt>
                <c:pt idx="1129">
                  <c:v>0.19977308456609366</c:v>
                </c:pt>
                <c:pt idx="1130">
                  <c:v>0.19856867648389342</c:v>
                </c:pt>
                <c:pt idx="1131">
                  <c:v>0.2060967135564009</c:v>
                </c:pt>
                <c:pt idx="1132">
                  <c:v>0.2060967135564009</c:v>
                </c:pt>
                <c:pt idx="1133">
                  <c:v>0.2060967135564009</c:v>
                </c:pt>
                <c:pt idx="1134">
                  <c:v>0.21231983897007312</c:v>
                </c:pt>
                <c:pt idx="1135">
                  <c:v>0.19967265883885954</c:v>
                </c:pt>
                <c:pt idx="1136">
                  <c:v>0.20449068041466534</c:v>
                </c:pt>
                <c:pt idx="1137">
                  <c:v>0.20398878532669795</c:v>
                </c:pt>
                <c:pt idx="1138">
                  <c:v>0.21101500516063898</c:v>
                </c:pt>
                <c:pt idx="1139">
                  <c:v>0.21101500516063898</c:v>
                </c:pt>
                <c:pt idx="1140">
                  <c:v>0.21101500516063898</c:v>
                </c:pt>
                <c:pt idx="1141">
                  <c:v>0.20519327125829911</c:v>
                </c:pt>
                <c:pt idx="1142">
                  <c:v>0.20258352579002947</c:v>
                </c:pt>
                <c:pt idx="1143">
                  <c:v>0.19194392601068588</c:v>
                </c:pt>
                <c:pt idx="1144">
                  <c:v>0.1947543672346217</c:v>
                </c:pt>
                <c:pt idx="1145">
                  <c:v>0.19264651685431966</c:v>
                </c:pt>
                <c:pt idx="1146">
                  <c:v>0.19264651685431966</c:v>
                </c:pt>
                <c:pt idx="1147">
                  <c:v>0.19264651685431966</c:v>
                </c:pt>
                <c:pt idx="1148">
                  <c:v>0.19886979796679394</c:v>
                </c:pt>
                <c:pt idx="1149">
                  <c:v>0.19816712927375923</c:v>
                </c:pt>
                <c:pt idx="1150">
                  <c:v>0.19284721260998583</c:v>
                </c:pt>
                <c:pt idx="1151">
                  <c:v>0.17488034936320163</c:v>
                </c:pt>
                <c:pt idx="1152">
                  <c:v>0.17939709375730506</c:v>
                </c:pt>
                <c:pt idx="1153">
                  <c:v>0.17939709375730506</c:v>
                </c:pt>
                <c:pt idx="1154">
                  <c:v>0.17939709375730506</c:v>
                </c:pt>
                <c:pt idx="1155">
                  <c:v>0.1791963980016389</c:v>
                </c:pt>
                <c:pt idx="1156">
                  <c:v>0.19294763833721973</c:v>
                </c:pt>
                <c:pt idx="1157">
                  <c:v>0.20720077376076818</c:v>
                </c:pt>
                <c:pt idx="1158">
                  <c:v>0.22075131834068262</c:v>
                </c:pt>
                <c:pt idx="1159">
                  <c:v>0.2175393299066124</c:v>
                </c:pt>
                <c:pt idx="1160">
                  <c:v>0.2175393299066124</c:v>
                </c:pt>
                <c:pt idx="1161">
                  <c:v>0.2175393299066124</c:v>
                </c:pt>
                <c:pt idx="1162">
                  <c:v>0.21904493732111385</c:v>
                </c:pt>
                <c:pt idx="1163">
                  <c:v>0.2100112928341049</c:v>
                </c:pt>
                <c:pt idx="1164">
                  <c:v>0.20760224312150144</c:v>
                </c:pt>
                <c:pt idx="1165">
                  <c:v>0.20198136067362982</c:v>
                </c:pt>
                <c:pt idx="1166">
                  <c:v>0.1908397879569177</c:v>
                </c:pt>
                <c:pt idx="1167">
                  <c:v>0.1908397879569177</c:v>
                </c:pt>
                <c:pt idx="1168">
                  <c:v>0.1908397879569177</c:v>
                </c:pt>
                <c:pt idx="1169">
                  <c:v>0.19676194758649146</c:v>
                </c:pt>
                <c:pt idx="1170">
                  <c:v>0.20007420604899373</c:v>
                </c:pt>
                <c:pt idx="1171">
                  <c:v>0.20007420604899373</c:v>
                </c:pt>
                <c:pt idx="1172">
                  <c:v>0.20459110614189924</c:v>
                </c:pt>
                <c:pt idx="1173">
                  <c:v>0.2089071547803365</c:v>
                </c:pt>
                <c:pt idx="1174">
                  <c:v>0.2089071547803365</c:v>
                </c:pt>
                <c:pt idx="1175">
                  <c:v>0.2089071547803365</c:v>
                </c:pt>
                <c:pt idx="1176">
                  <c:v>0.2131229333903415</c:v>
                </c:pt>
                <c:pt idx="1177">
                  <c:v>0.2149295844383423</c:v>
                </c:pt>
                <c:pt idx="1178">
                  <c:v>0.21402621998964144</c:v>
                </c:pt>
                <c:pt idx="1179">
                  <c:v>0.21402621998964144</c:v>
                </c:pt>
                <c:pt idx="1180">
                  <c:v>0.22225684790578248</c:v>
                </c:pt>
                <c:pt idx="1181">
                  <c:v>0.22225684790578248</c:v>
                </c:pt>
                <c:pt idx="1182">
                  <c:v>0.22225684790578248</c:v>
                </c:pt>
                <c:pt idx="1183">
                  <c:v>0.22486667122345327</c:v>
                </c:pt>
                <c:pt idx="1184">
                  <c:v>0.2270748694815885</c:v>
                </c:pt>
                <c:pt idx="1185">
                  <c:v>0.23359919422756215</c:v>
                </c:pt>
                <c:pt idx="1186">
                  <c:v>0.23430178507119592</c:v>
                </c:pt>
                <c:pt idx="1187">
                  <c:v>0.2358074703350983</c:v>
                </c:pt>
                <c:pt idx="1188">
                  <c:v>0.2358074703350983</c:v>
                </c:pt>
                <c:pt idx="1189">
                  <c:v>0.2358074703350983</c:v>
                </c:pt>
                <c:pt idx="1190">
                  <c:v>0.23289660338392837</c:v>
                </c:pt>
                <c:pt idx="1191">
                  <c:v>0.22556926206708705</c:v>
                </c:pt>
                <c:pt idx="1192">
                  <c:v>0.23430178507119592</c:v>
                </c:pt>
                <c:pt idx="1193">
                  <c:v>0.22657297439362134</c:v>
                </c:pt>
                <c:pt idx="1194">
                  <c:v>0.2251677927063538</c:v>
                </c:pt>
                <c:pt idx="1195">
                  <c:v>0.2251677927063538</c:v>
                </c:pt>
                <c:pt idx="1196">
                  <c:v>0.2251677927063538</c:v>
                </c:pt>
                <c:pt idx="1197">
                  <c:v>0.2276771124473893</c:v>
                </c:pt>
                <c:pt idx="1198">
                  <c:v>0.22297882325025475</c:v>
                </c:pt>
                <c:pt idx="1199">
                  <c:v>0.1866276682687571</c:v>
                </c:pt>
                <c:pt idx="1200">
                  <c:v>0.1867288724900007</c:v>
                </c:pt>
                <c:pt idx="1201">
                  <c:v>0.19604456535667558</c:v>
                </c:pt>
                <c:pt idx="1202">
                  <c:v>0.19604456535667558</c:v>
                </c:pt>
                <c:pt idx="1203">
                  <c:v>0.19604456535667558</c:v>
                </c:pt>
                <c:pt idx="1204">
                  <c:v>0.203436288128108</c:v>
                </c:pt>
                <c:pt idx="1205">
                  <c:v>0.21356192616233605</c:v>
                </c:pt>
                <c:pt idx="1206">
                  <c:v>0.21356192616233605</c:v>
                </c:pt>
                <c:pt idx="1207">
                  <c:v>0.2145745133205792</c:v>
                </c:pt>
                <c:pt idx="1208">
                  <c:v>0.20536018037394976</c:v>
                </c:pt>
                <c:pt idx="1209">
                  <c:v>0.20536018037394976</c:v>
                </c:pt>
                <c:pt idx="1210">
                  <c:v>0.20536018037394976</c:v>
                </c:pt>
                <c:pt idx="1211">
                  <c:v>0.19300680388194658</c:v>
                </c:pt>
                <c:pt idx="1212">
                  <c:v>0.18976663396472992</c:v>
                </c:pt>
                <c:pt idx="1213">
                  <c:v>0.18976663396472992</c:v>
                </c:pt>
                <c:pt idx="1214">
                  <c:v>0.18743769128571097</c:v>
                </c:pt>
                <c:pt idx="1215">
                  <c:v>0.19979098992831323</c:v>
                </c:pt>
                <c:pt idx="1216">
                  <c:v>0.19979098992831323</c:v>
                </c:pt>
                <c:pt idx="1217">
                  <c:v>0.19979098992831323</c:v>
                </c:pt>
                <c:pt idx="1218">
                  <c:v>0.20809409563674497</c:v>
                </c:pt>
                <c:pt idx="1219">
                  <c:v>0.19644961578985298</c:v>
                </c:pt>
                <c:pt idx="1220">
                  <c:v>0.1965508200110968</c:v>
                </c:pt>
                <c:pt idx="1221">
                  <c:v>0.1965508200110968</c:v>
                </c:pt>
                <c:pt idx="1222">
                  <c:v>0.17832464040972607</c:v>
                </c:pt>
                <c:pt idx="1223">
                  <c:v>0.17832464040972607</c:v>
                </c:pt>
                <c:pt idx="1224">
                  <c:v>0.17832464040972607</c:v>
                </c:pt>
                <c:pt idx="1225">
                  <c:v>0.1781220762684368</c:v>
                </c:pt>
                <c:pt idx="1226">
                  <c:v>0.18146352825629797</c:v>
                </c:pt>
                <c:pt idx="1227">
                  <c:v>0.20070237286531256</c:v>
                </c:pt>
                <c:pt idx="1228">
                  <c:v>0.20080357708655616</c:v>
                </c:pt>
                <c:pt idx="1229">
                  <c:v>0.21103049719142852</c:v>
                </c:pt>
                <c:pt idx="1230">
                  <c:v>0.21103049719142852</c:v>
                </c:pt>
                <c:pt idx="1231">
                  <c:v>0.21103049719142852</c:v>
                </c:pt>
                <c:pt idx="1232">
                  <c:v>0.21103049719142852</c:v>
                </c:pt>
                <c:pt idx="1233">
                  <c:v>0.22480143342545134</c:v>
                </c:pt>
                <c:pt idx="1234">
                  <c:v>0.22925675464219997</c:v>
                </c:pt>
                <c:pt idx="1235">
                  <c:v>0.23604094068856685</c:v>
                </c:pt>
                <c:pt idx="1236">
                  <c:v>0.23593965861792232</c:v>
                </c:pt>
                <c:pt idx="1237">
                  <c:v>0.23593965861792232</c:v>
                </c:pt>
                <c:pt idx="1238">
                  <c:v>0.23593965861792232</c:v>
                </c:pt>
                <c:pt idx="1239">
                  <c:v>0.2211562130750575</c:v>
                </c:pt>
                <c:pt idx="1240">
                  <c:v>0.2292567546422002</c:v>
                </c:pt>
                <c:pt idx="1241">
                  <c:v>0.22561153429180614</c:v>
                </c:pt>
                <c:pt idx="1242">
                  <c:v>0.2350283535303237</c:v>
                </c:pt>
                <c:pt idx="1243">
                  <c:v>0.22713037610447007</c:v>
                </c:pt>
                <c:pt idx="1244">
                  <c:v>0.22713037610447007</c:v>
                </c:pt>
                <c:pt idx="1245">
                  <c:v>0.22713037610447007</c:v>
                </c:pt>
                <c:pt idx="1246">
                  <c:v>0.21720714651272943</c:v>
                </c:pt>
                <c:pt idx="1247">
                  <c:v>0.22824416748395682</c:v>
                </c:pt>
                <c:pt idx="1248">
                  <c:v>0.23421833051336982</c:v>
                </c:pt>
                <c:pt idx="1249">
                  <c:v>0.2384710875888294</c:v>
                </c:pt>
                <c:pt idx="1250">
                  <c:v>0.2285479358464897</c:v>
                </c:pt>
                <c:pt idx="1251">
                  <c:v>0.2285479358464897</c:v>
                </c:pt>
                <c:pt idx="1252">
                  <c:v>0.2285479358464897</c:v>
                </c:pt>
                <c:pt idx="1253">
                  <c:v>0.2384710875888294</c:v>
                </c:pt>
                <c:pt idx="1254">
                  <c:v>0.23867365173011867</c:v>
                </c:pt>
                <c:pt idx="1255">
                  <c:v>0.237559782501231</c:v>
                </c:pt>
                <c:pt idx="1256">
                  <c:v>0.25193825546031934</c:v>
                </c:pt>
                <c:pt idx="1257">
                  <c:v>0.2517357691684312</c:v>
                </c:pt>
                <c:pt idx="1258">
                  <c:v>0.2517357691684312</c:v>
                </c:pt>
                <c:pt idx="1259">
                  <c:v>0.2517357691684312</c:v>
                </c:pt>
                <c:pt idx="1260">
                  <c:v>0.2517357691684312</c:v>
                </c:pt>
                <c:pt idx="1261">
                  <c:v>0.2568998313314892</c:v>
                </c:pt>
                <c:pt idx="1262">
                  <c:v>0.25538098951882504</c:v>
                </c:pt>
                <c:pt idx="1263">
                  <c:v>0.2536595835648716</c:v>
                </c:pt>
                <c:pt idx="1264">
                  <c:v>0.23664847741363237</c:v>
                </c:pt>
                <c:pt idx="1265">
                  <c:v>0.23664847741363237</c:v>
                </c:pt>
                <c:pt idx="1266">
                  <c:v>0.23664847741363237</c:v>
                </c:pt>
                <c:pt idx="1267">
                  <c:v>0.23006685550855477</c:v>
                </c:pt>
                <c:pt idx="1268">
                  <c:v>0.22814296326271322</c:v>
                </c:pt>
                <c:pt idx="1269">
                  <c:v>0.2304717502429301</c:v>
                </c:pt>
                <c:pt idx="1270">
                  <c:v>0.21173931598713858</c:v>
                </c:pt>
                <c:pt idx="1271">
                  <c:v>0.22348515575407624</c:v>
                </c:pt>
                <c:pt idx="1272">
                  <c:v>0.22348515575407624</c:v>
                </c:pt>
                <c:pt idx="1273">
                  <c:v>0.22348515575407624</c:v>
                </c:pt>
                <c:pt idx="1274">
                  <c:v>0.2105242425370073</c:v>
                </c:pt>
                <c:pt idx="1275">
                  <c:v>0.20171488217415434</c:v>
                </c:pt>
                <c:pt idx="1276">
                  <c:v>0.22075116264187966</c:v>
                </c:pt>
                <c:pt idx="1277">
                  <c:v>0.20191736846604247</c:v>
                </c:pt>
                <c:pt idx="1278">
                  <c:v>0.21001798788258608</c:v>
                </c:pt>
                <c:pt idx="1279">
                  <c:v>0.21001798788258608</c:v>
                </c:pt>
                <c:pt idx="1280">
                  <c:v>0.21001798788258608</c:v>
                </c:pt>
                <c:pt idx="1281">
                  <c:v>0.17872969084290302</c:v>
                </c:pt>
                <c:pt idx="1282">
                  <c:v>0.17255296367220097</c:v>
                </c:pt>
                <c:pt idx="1283">
                  <c:v>0.17953963601045597</c:v>
                </c:pt>
                <c:pt idx="1284">
                  <c:v>0.16607254598836696</c:v>
                </c:pt>
                <c:pt idx="1285">
                  <c:v>0.18926030146090733</c:v>
                </c:pt>
                <c:pt idx="1286">
                  <c:v>0.18926030146090733</c:v>
                </c:pt>
                <c:pt idx="1287">
                  <c:v>0.18926030146090733</c:v>
                </c:pt>
                <c:pt idx="1288">
                  <c:v>0.20110742329848952</c:v>
                </c:pt>
                <c:pt idx="1289">
                  <c:v>0.1925005492275247</c:v>
                </c:pt>
                <c:pt idx="1290">
                  <c:v>0.20222121467797605</c:v>
                </c:pt>
                <c:pt idx="1291">
                  <c:v>0.19715835673616167</c:v>
                </c:pt>
                <c:pt idx="1292">
                  <c:v>0.1946270056146555</c:v>
                </c:pt>
                <c:pt idx="1293">
                  <c:v>0.1946270056146555</c:v>
                </c:pt>
                <c:pt idx="1294">
                  <c:v>0.1946270056146555</c:v>
                </c:pt>
                <c:pt idx="1295">
                  <c:v>0.21214436642031576</c:v>
                </c:pt>
                <c:pt idx="1296">
                  <c:v>0.21275182529598058</c:v>
                </c:pt>
                <c:pt idx="1297">
                  <c:v>0.19938593949513517</c:v>
                </c:pt>
                <c:pt idx="1298">
                  <c:v>0.1976646113905829</c:v>
                </c:pt>
                <c:pt idx="1299">
                  <c:v>0.17700820703954867</c:v>
                </c:pt>
                <c:pt idx="1300">
                  <c:v>0.17700820703954867</c:v>
                </c:pt>
                <c:pt idx="1301">
                  <c:v>0.17700820703954867</c:v>
                </c:pt>
                <c:pt idx="1302">
                  <c:v>0.17852712670161375</c:v>
                </c:pt>
                <c:pt idx="1303">
                  <c:v>0.1826786795558295</c:v>
                </c:pt>
                <c:pt idx="1304">
                  <c:v>0.1887540468064861</c:v>
                </c:pt>
                <c:pt idx="1305">
                  <c:v>0.14328984094900377</c:v>
                </c:pt>
                <c:pt idx="1306">
                  <c:v>0.07332136839940318</c:v>
                </c:pt>
                <c:pt idx="1307">
                  <c:v>0.07332136839940318</c:v>
                </c:pt>
                <c:pt idx="1308">
                  <c:v>0.07332136839940318</c:v>
                </c:pt>
                <c:pt idx="1309">
                  <c:v>0.06289196200264247</c:v>
                </c:pt>
                <c:pt idx="1310">
                  <c:v>0.0489184616273306</c:v>
                </c:pt>
                <c:pt idx="1311">
                  <c:v>0.14116338456187338</c:v>
                </c:pt>
                <c:pt idx="1312">
                  <c:v>0.10622978932239535</c:v>
                </c:pt>
                <c:pt idx="1313">
                  <c:v>0.1249623014275878</c:v>
                </c:pt>
                <c:pt idx="1314">
                  <c:v>0.1249623014275878</c:v>
                </c:pt>
                <c:pt idx="1315">
                  <c:v>0.1249623014275878</c:v>
                </c:pt>
                <c:pt idx="1316">
                  <c:v>0.14065712990745194</c:v>
                </c:pt>
                <c:pt idx="1317">
                  <c:v>0.1413658708537613</c:v>
                </c:pt>
                <c:pt idx="1318">
                  <c:v>0.1232409733230353</c:v>
                </c:pt>
                <c:pt idx="1319">
                  <c:v>0.1279999850529161</c:v>
                </c:pt>
                <c:pt idx="1320">
                  <c:v>0.1279999850529161</c:v>
                </c:pt>
                <c:pt idx="1321">
                  <c:v>0.1279999850529161</c:v>
                </c:pt>
                <c:pt idx="1322">
                  <c:v>0.1279999850529161</c:v>
                </c:pt>
                <c:pt idx="1323">
                  <c:v>0.10977380545154558</c:v>
                </c:pt>
                <c:pt idx="1324">
                  <c:v>0.13478417109928298</c:v>
                </c:pt>
                <c:pt idx="1325">
                  <c:v>0.14865638940395032</c:v>
                </c:pt>
                <c:pt idx="1326">
                  <c:v>0.1696165621175172</c:v>
                </c:pt>
                <c:pt idx="1327">
                  <c:v>0.17640074816388385</c:v>
                </c:pt>
                <c:pt idx="1328">
                  <c:v>0.17640074816388385</c:v>
                </c:pt>
                <c:pt idx="1329">
                  <c:v>0.17640074816388385</c:v>
                </c:pt>
                <c:pt idx="1330">
                  <c:v>0.17862840877225827</c:v>
                </c:pt>
                <c:pt idx="1331">
                  <c:v>0.18460249395227035</c:v>
                </c:pt>
                <c:pt idx="1332">
                  <c:v>0.18460249395227035</c:v>
                </c:pt>
                <c:pt idx="1333">
                  <c:v>0.18895653309837468</c:v>
                </c:pt>
                <c:pt idx="1334">
                  <c:v>0.20910668279498767</c:v>
                </c:pt>
                <c:pt idx="1335">
                  <c:v>0.20910668279498767</c:v>
                </c:pt>
                <c:pt idx="1336">
                  <c:v>0.20910668279498767</c:v>
                </c:pt>
                <c:pt idx="1337">
                  <c:v>0.2066764580453242</c:v>
                </c:pt>
                <c:pt idx="1338">
                  <c:v>0.1996897857070692</c:v>
                </c:pt>
                <c:pt idx="1339">
                  <c:v>0.20070237286531234</c:v>
                </c:pt>
                <c:pt idx="1340">
                  <c:v>0.20465136157823904</c:v>
                </c:pt>
                <c:pt idx="1341">
                  <c:v>0.20627140761214702</c:v>
                </c:pt>
                <c:pt idx="1342">
                  <c:v>0.20627140761214702</c:v>
                </c:pt>
                <c:pt idx="1343">
                  <c:v>0.20627140761214702</c:v>
                </c:pt>
                <c:pt idx="1344">
                  <c:v>0.23563589025538967</c:v>
                </c:pt>
                <c:pt idx="1345">
                  <c:v>0.2422175900098682</c:v>
                </c:pt>
                <c:pt idx="1346">
                  <c:v>0.24333145923875565</c:v>
                </c:pt>
                <c:pt idx="1347">
                  <c:v>0.250014363214478</c:v>
                </c:pt>
                <c:pt idx="1348">
                  <c:v>0.2559885262438908</c:v>
                </c:pt>
                <c:pt idx="1349">
                  <c:v>0.2559885262438908</c:v>
                </c:pt>
                <c:pt idx="1350">
                  <c:v>0.2559885262438908</c:v>
                </c:pt>
                <c:pt idx="1351">
                  <c:v>0.2599375149568175</c:v>
                </c:pt>
                <c:pt idx="1352">
                  <c:v>0.25851995521479787</c:v>
                </c:pt>
                <c:pt idx="1353">
                  <c:v>0.24292640880557803</c:v>
                </c:pt>
                <c:pt idx="1354">
                  <c:v>0.24221759000986776</c:v>
                </c:pt>
                <c:pt idx="1355">
                  <c:v>0.23836988336758558</c:v>
                </c:pt>
                <c:pt idx="1356">
                  <c:v>0.23836988336758558</c:v>
                </c:pt>
                <c:pt idx="1357">
                  <c:v>0.23836988336758558</c:v>
                </c:pt>
                <c:pt idx="1358">
                  <c:v>0.23836988336758558</c:v>
                </c:pt>
                <c:pt idx="1359">
                  <c:v>0.2591274919398634</c:v>
                </c:pt>
                <c:pt idx="1360">
                  <c:v>0.2501156452851221</c:v>
                </c:pt>
                <c:pt idx="1361">
                  <c:v>0.25467224857251547</c:v>
                </c:pt>
                <c:pt idx="1362">
                  <c:v>0.25203953753096364</c:v>
                </c:pt>
                <c:pt idx="1363">
                  <c:v>0.25203953753096364</c:v>
                </c:pt>
                <c:pt idx="1364">
                  <c:v>0.25203953753096364</c:v>
                </c:pt>
                <c:pt idx="1365">
                  <c:v>0.2613551525482378</c:v>
                </c:pt>
                <c:pt idx="1366">
                  <c:v>0.26419027203227685</c:v>
                </c:pt>
                <c:pt idx="1367">
                  <c:v>0.26743051979889443</c:v>
                </c:pt>
                <c:pt idx="1368">
                  <c:v>0.263684095227257</c:v>
                </c:pt>
                <c:pt idx="1369">
                  <c:v>0.27340468282830743</c:v>
                </c:pt>
                <c:pt idx="1370">
                  <c:v>0.27340468282830743</c:v>
                </c:pt>
                <c:pt idx="1371">
                  <c:v>0.27340468282830743</c:v>
                </c:pt>
                <c:pt idx="1372">
                  <c:v>0.2750247288622152</c:v>
                </c:pt>
                <c:pt idx="1373">
                  <c:v>0.2811001739622727</c:v>
                </c:pt>
                <c:pt idx="1374">
                  <c:v>0.27937884585772044</c:v>
                </c:pt>
                <c:pt idx="1375">
                  <c:v>0.2844416259501339</c:v>
                </c:pt>
                <c:pt idx="1376">
                  <c:v>0.26965818040726885</c:v>
                </c:pt>
                <c:pt idx="1377">
                  <c:v>0.26965818040726885</c:v>
                </c:pt>
                <c:pt idx="1378">
                  <c:v>0.26965818040726885</c:v>
                </c:pt>
                <c:pt idx="1379">
                  <c:v>0.28079056689466797</c:v>
                </c:pt>
                <c:pt idx="1380">
                  <c:v>0.267831677762024</c:v>
                </c:pt>
                <c:pt idx="1381">
                  <c:v>0.26823984217123953</c:v>
                </c:pt>
                <c:pt idx="1382">
                  <c:v>0.26823984217123953</c:v>
                </c:pt>
                <c:pt idx="1383">
                  <c:v>0.2626276788562749</c:v>
                </c:pt>
                <c:pt idx="1384">
                  <c:v>0.2626276788562749</c:v>
                </c:pt>
                <c:pt idx="1385">
                  <c:v>0.2626276788562749</c:v>
                </c:pt>
                <c:pt idx="1386">
                  <c:v>0.2739539882014572</c:v>
                </c:pt>
                <c:pt idx="1387">
                  <c:v>0.2907904002969497</c:v>
                </c:pt>
                <c:pt idx="1388">
                  <c:v>0.2898720887632651</c:v>
                </c:pt>
                <c:pt idx="1389">
                  <c:v>0.3006881731345774</c:v>
                </c:pt>
                <c:pt idx="1390">
                  <c:v>0.3065043018800484</c:v>
                </c:pt>
                <c:pt idx="1391">
                  <c:v>0.3065043018800484</c:v>
                </c:pt>
                <c:pt idx="1392">
                  <c:v>0.3065043018800484</c:v>
                </c:pt>
                <c:pt idx="1393">
                  <c:v>0.31221860360906817</c:v>
                </c:pt>
                <c:pt idx="1394">
                  <c:v>0.31150425750588995</c:v>
                </c:pt>
                <c:pt idx="1395">
                  <c:v>0.3168103169762928</c:v>
                </c:pt>
                <c:pt idx="1396">
                  <c:v>0.3243610860738797</c:v>
                </c:pt>
                <c:pt idx="1397">
                  <c:v>0.3243610860738797</c:v>
                </c:pt>
                <c:pt idx="1398">
                  <c:v>0.3243610860738797</c:v>
                </c:pt>
                <c:pt idx="1399">
                  <c:v>0.3243610860738797</c:v>
                </c:pt>
                <c:pt idx="1400">
                  <c:v>0.312830811298191</c:v>
                </c:pt>
                <c:pt idx="1401">
                  <c:v>0.3150756766241769</c:v>
                </c:pt>
                <c:pt idx="1402">
                  <c:v>0.32221835916194896</c:v>
                </c:pt>
                <c:pt idx="1403">
                  <c:v>0.3249734494618046</c:v>
                </c:pt>
                <c:pt idx="1404">
                  <c:v>0.3183408361991005</c:v>
                </c:pt>
                <c:pt idx="1405">
                  <c:v>0.3183408361991005</c:v>
                </c:pt>
                <c:pt idx="1406">
                  <c:v>0.3183408361991005</c:v>
                </c:pt>
                <c:pt idx="1407">
                  <c:v>0.32017761496527153</c:v>
                </c:pt>
                <c:pt idx="1408">
                  <c:v>0.3146674343655602</c:v>
                </c:pt>
                <c:pt idx="1409">
                  <c:v>0.31976937270665506</c:v>
                </c:pt>
                <c:pt idx="1410">
                  <c:v>0.3250754321770579</c:v>
                </c:pt>
                <c:pt idx="1411">
                  <c:v>0.3240549822293184</c:v>
                </c:pt>
                <c:pt idx="1412">
                  <c:v>0.3240549822293184</c:v>
                </c:pt>
                <c:pt idx="1413">
                  <c:v>0.3240549822293184</c:v>
                </c:pt>
                <c:pt idx="1414">
                  <c:v>0.3278305224769136</c:v>
                </c:pt>
                <c:pt idx="1415">
                  <c:v>0.33007538780289947</c:v>
                </c:pt>
                <c:pt idx="1416">
                  <c:v>0.3458912721012515</c:v>
                </c:pt>
                <c:pt idx="1417">
                  <c:v>0.3431363375001977</c:v>
                </c:pt>
                <c:pt idx="1418">
                  <c:v>0.3456873066707449</c:v>
                </c:pt>
                <c:pt idx="1419">
                  <c:v>0.3456873066707449</c:v>
                </c:pt>
                <c:pt idx="1420">
                  <c:v>0.3456873066707449</c:v>
                </c:pt>
                <c:pt idx="1421">
                  <c:v>0.3396669010971638</c:v>
                </c:pt>
                <c:pt idx="1422">
                  <c:v>0.3372180703406715</c:v>
                </c:pt>
                <c:pt idx="1423">
                  <c:v>0.33272833968869997</c:v>
                </c:pt>
                <c:pt idx="1424">
                  <c:v>0.3260958821247977</c:v>
                </c:pt>
                <c:pt idx="1425">
                  <c:v>0.3093615305939592</c:v>
                </c:pt>
                <c:pt idx="1426">
                  <c:v>0.3093615305939592</c:v>
                </c:pt>
                <c:pt idx="1427">
                  <c:v>0.3093615305939592</c:v>
                </c:pt>
                <c:pt idx="1428">
                  <c:v>0.3282386090367282</c:v>
                </c:pt>
                <c:pt idx="1429">
                  <c:v>0.32456520720318793</c:v>
                </c:pt>
                <c:pt idx="1430">
                  <c:v>0.33446298004081565</c:v>
                </c:pt>
                <c:pt idx="1431">
                  <c:v>0.3376261569004859</c:v>
                </c:pt>
                <c:pt idx="1432">
                  <c:v>0.3454831855414362</c:v>
                </c:pt>
                <c:pt idx="1433">
                  <c:v>0.3454831855414362</c:v>
                </c:pt>
                <c:pt idx="1434">
                  <c:v>0.3454831855414362</c:v>
                </c:pt>
                <c:pt idx="1435">
                  <c:v>0.34191176642314924</c:v>
                </c:pt>
                <c:pt idx="1436">
                  <c:v>0.3566053737573103</c:v>
                </c:pt>
                <c:pt idx="1437">
                  <c:v>0.36282974476139795</c:v>
                </c:pt>
                <c:pt idx="1438">
                  <c:v>0.3606870178494672</c:v>
                </c:pt>
                <c:pt idx="1439">
                  <c:v>0.36099312169402875</c:v>
                </c:pt>
                <c:pt idx="1440">
                  <c:v>0.36099312169402875</c:v>
                </c:pt>
                <c:pt idx="1441">
                  <c:v>0.36099312169402875</c:v>
                </c:pt>
                <c:pt idx="1442">
                  <c:v>0.3612992255385903</c:v>
                </c:pt>
                <c:pt idx="1443">
                  <c:v>0.35405440458676307</c:v>
                </c:pt>
                <c:pt idx="1444">
                  <c:v>0.3525238853639554</c:v>
                </c:pt>
                <c:pt idx="1445">
                  <c:v>0.3473198086088056</c:v>
                </c:pt>
                <c:pt idx="1446">
                  <c:v>0.3695643407393554</c:v>
                </c:pt>
                <c:pt idx="1447">
                  <c:v>0.3695643407393554</c:v>
                </c:pt>
                <c:pt idx="1448">
                  <c:v>0.3695643407393554</c:v>
                </c:pt>
                <c:pt idx="1449">
                  <c:v>0.3606870178494672</c:v>
                </c:pt>
                <c:pt idx="1450">
                  <c:v>0.36354409086457595</c:v>
                </c:pt>
                <c:pt idx="1451">
                  <c:v>0.36405416013964387</c:v>
                </c:pt>
                <c:pt idx="1452">
                  <c:v>0.3695643407393552</c:v>
                </c:pt>
                <c:pt idx="1453">
                  <c:v>0.3616053293831518</c:v>
                </c:pt>
                <c:pt idx="1454">
                  <c:v>0.3616053293831518</c:v>
                </c:pt>
                <c:pt idx="1455">
                  <c:v>0.3616053293831518</c:v>
                </c:pt>
                <c:pt idx="1456">
                  <c:v>0.3616053293831518</c:v>
                </c:pt>
                <c:pt idx="1457">
                  <c:v>0.3520136603900854</c:v>
                </c:pt>
                <c:pt idx="1458">
                  <c:v>0.3577278064203031</c:v>
                </c:pt>
                <c:pt idx="1459">
                  <c:v>0.3668092504394993</c:v>
                </c:pt>
                <c:pt idx="1460">
                  <c:v>0.3680338215165475</c:v>
                </c:pt>
                <c:pt idx="1461">
                  <c:v>0.3680338215165475</c:v>
                </c:pt>
                <c:pt idx="1462">
                  <c:v>0.3680338215165475</c:v>
                </c:pt>
                <c:pt idx="1463">
                  <c:v>0.37466627908045</c:v>
                </c:pt>
                <c:pt idx="1464">
                  <c:v>0.37670702327712746</c:v>
                </c:pt>
                <c:pt idx="1465">
                  <c:v>0.3797682174215449</c:v>
                </c:pt>
                <c:pt idx="1466">
                  <c:v>0.39333939209271285</c:v>
                </c:pt>
                <c:pt idx="1467">
                  <c:v>0.3912986478960354</c:v>
                </c:pt>
                <c:pt idx="1468">
                  <c:v>0.3912986478960354</c:v>
                </c:pt>
                <c:pt idx="1469">
                  <c:v>0.3912986478960354</c:v>
                </c:pt>
                <c:pt idx="1470">
                  <c:v>0.4003800919152316</c:v>
                </c:pt>
                <c:pt idx="1471">
                  <c:v>0.39895155540767724</c:v>
                </c:pt>
                <c:pt idx="1472">
                  <c:v>0.39762500161537595</c:v>
                </c:pt>
                <c:pt idx="1473">
                  <c:v>0.40344113036084694</c:v>
                </c:pt>
                <c:pt idx="1474">
                  <c:v>0.40568599568683283</c:v>
                </c:pt>
                <c:pt idx="1475">
                  <c:v>0.40568599568683283</c:v>
                </c:pt>
                <c:pt idx="1476">
                  <c:v>0.40568599568683283</c:v>
                </c:pt>
                <c:pt idx="1477">
                  <c:v>0.412318608949537</c:v>
                </c:pt>
                <c:pt idx="1478">
                  <c:v>0.4070125494791341</c:v>
                </c:pt>
                <c:pt idx="1479">
                  <c:v>0.4009922996043549</c:v>
                </c:pt>
                <c:pt idx="1480">
                  <c:v>0.3940535824970892</c:v>
                </c:pt>
                <c:pt idx="1481">
                  <c:v>0.40140038616416973</c:v>
                </c:pt>
                <c:pt idx="1482">
                  <c:v>0.40140038616416973</c:v>
                </c:pt>
                <c:pt idx="1483">
                  <c:v>0.40140038616416973</c:v>
                </c:pt>
                <c:pt idx="1484">
                  <c:v>0.40486966686840153</c:v>
                </c:pt>
                <c:pt idx="1485">
                  <c:v>0.4105839685974213</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7634244642889643</c:v>
                </c:pt>
                <c:pt idx="2">
                  <c:v>-0.019533001447581078</c:v>
                </c:pt>
                <c:pt idx="3">
                  <c:v>-0.020884177730891018</c:v>
                </c:pt>
                <c:pt idx="4">
                  <c:v>-0.019635927337207426</c:v>
                </c:pt>
                <c:pt idx="5">
                  <c:v>-0.019635927337207426</c:v>
                </c:pt>
                <c:pt idx="6">
                  <c:v>-0.019635927337207426</c:v>
                </c:pt>
                <c:pt idx="7">
                  <c:v>-0.0272317677195546</c:v>
                </c:pt>
                <c:pt idx="8">
                  <c:v>-0.028970608033483503</c:v>
                </c:pt>
                <c:pt idx="9">
                  <c:v>-0.019391066204796026</c:v>
                </c:pt>
                <c:pt idx="10">
                  <c:v>-0.026537039003138085</c:v>
                </c:pt>
                <c:pt idx="11">
                  <c:v>-0.03985621066469369</c:v>
                </c:pt>
                <c:pt idx="12">
                  <c:v>-0.03985621066469369</c:v>
                </c:pt>
                <c:pt idx="13">
                  <c:v>-0.03985621066469369</c:v>
                </c:pt>
                <c:pt idx="14">
                  <c:v>-0.0671797050471401</c:v>
                </c:pt>
                <c:pt idx="15">
                  <c:v>-0.06393017199619555</c:v>
                </c:pt>
                <c:pt idx="16">
                  <c:v>-0.046921427028216445</c:v>
                </c:pt>
                <c:pt idx="17">
                  <c:v>-0.03121740356580749</c:v>
                </c:pt>
                <c:pt idx="18">
                  <c:v>-0.030966904074893442</c:v>
                </c:pt>
                <c:pt idx="19">
                  <c:v>-0.030966904074893442</c:v>
                </c:pt>
                <c:pt idx="20">
                  <c:v>-0.030966904074893442</c:v>
                </c:pt>
                <c:pt idx="21">
                  <c:v>-0.037355147739076444</c:v>
                </c:pt>
                <c:pt idx="22">
                  <c:v>-0.04898080053082632</c:v>
                </c:pt>
                <c:pt idx="23">
                  <c:v>-0.048843738621658916</c:v>
                </c:pt>
                <c:pt idx="24">
                  <c:v>-0.05023902473561215</c:v>
                </c:pt>
                <c:pt idx="25">
                  <c:v>-0.04586441543331343</c:v>
                </c:pt>
                <c:pt idx="26">
                  <c:v>-0.04586441543331343</c:v>
                </c:pt>
                <c:pt idx="27">
                  <c:v>-0.04586441543331343</c:v>
                </c:pt>
                <c:pt idx="28">
                  <c:v>-0.06135975835924723</c:v>
                </c:pt>
                <c:pt idx="29">
                  <c:v>-0.04312354653310857</c:v>
                </c:pt>
                <c:pt idx="30">
                  <c:v>-0.04200617617300495</c:v>
                </c:pt>
                <c:pt idx="31">
                  <c:v>-0.021796715240537723</c:v>
                </c:pt>
                <c:pt idx="32">
                  <c:v>-0.019158047744242235</c:v>
                </c:pt>
                <c:pt idx="33">
                  <c:v>-0.019158047744242235</c:v>
                </c:pt>
                <c:pt idx="34">
                  <c:v>-0.019158047744242235</c:v>
                </c:pt>
                <c:pt idx="35">
                  <c:v>-0.01260603735841237</c:v>
                </c:pt>
                <c:pt idx="36">
                  <c:v>-0.016567721229146626</c:v>
                </c:pt>
                <c:pt idx="37">
                  <c:v>-0.008597450775082338</c:v>
                </c:pt>
                <c:pt idx="38">
                  <c:v>0.001851494475414217</c:v>
                </c:pt>
                <c:pt idx="39">
                  <c:v>0.02764370102880931</c:v>
                </c:pt>
                <c:pt idx="40">
                  <c:v>0.02764370102880931</c:v>
                </c:pt>
                <c:pt idx="41">
                  <c:v>0.02764370102880931</c:v>
                </c:pt>
                <c:pt idx="42">
                  <c:v>0.05245970967057989</c:v>
                </c:pt>
                <c:pt idx="43">
                  <c:v>0.046544504312662216</c:v>
                </c:pt>
                <c:pt idx="44">
                  <c:v>0.06328325528787504</c:v>
                </c:pt>
                <c:pt idx="45">
                  <c:v>0.05978095413686546</c:v>
                </c:pt>
                <c:pt idx="46">
                  <c:v>0.056849291551829495</c:v>
                </c:pt>
                <c:pt idx="47">
                  <c:v>0.056849291551829495</c:v>
                </c:pt>
                <c:pt idx="48">
                  <c:v>0.056849291551829495</c:v>
                </c:pt>
                <c:pt idx="49">
                  <c:v>0.06818924101547408</c:v>
                </c:pt>
                <c:pt idx="50">
                  <c:v>0.07442662663209831</c:v>
                </c:pt>
                <c:pt idx="51">
                  <c:v>0.05752766288988198</c:v>
                </c:pt>
                <c:pt idx="52">
                  <c:v>0.06948443470820953</c:v>
                </c:pt>
                <c:pt idx="53">
                  <c:v>0.07855809567000516</c:v>
                </c:pt>
                <c:pt idx="54">
                  <c:v>0.07855809567000516</c:v>
                </c:pt>
                <c:pt idx="55">
                  <c:v>0.07855809567000516</c:v>
                </c:pt>
                <c:pt idx="56">
                  <c:v>0.07654123289583215</c:v>
                </c:pt>
                <c:pt idx="57">
                  <c:v>0.08045322352124207</c:v>
                </c:pt>
                <c:pt idx="58">
                  <c:v>0.07907215187810213</c:v>
                </c:pt>
                <c:pt idx="59">
                  <c:v>0.1000260987198407</c:v>
                </c:pt>
                <c:pt idx="60">
                  <c:v>0.10384413083454769</c:v>
                </c:pt>
                <c:pt idx="61">
                  <c:v>0.10384413083454769</c:v>
                </c:pt>
                <c:pt idx="62">
                  <c:v>0.10384413083454769</c:v>
                </c:pt>
                <c:pt idx="63">
                  <c:v>0.11412922311343277</c:v>
                </c:pt>
                <c:pt idx="64">
                  <c:v>0.11237365148542855</c:v>
                </c:pt>
                <c:pt idx="65">
                  <c:v>0.09557641678919615</c:v>
                </c:pt>
                <c:pt idx="66">
                  <c:v>0.10634984096370204</c:v>
                </c:pt>
                <c:pt idx="67">
                  <c:v>0.1131237652132766</c:v>
                </c:pt>
                <c:pt idx="68">
                  <c:v>0.1131237652132766</c:v>
                </c:pt>
                <c:pt idx="69">
                  <c:v>0.1131237652132766</c:v>
                </c:pt>
                <c:pt idx="70">
                  <c:v>0.10738588188586995</c:v>
                </c:pt>
                <c:pt idx="71">
                  <c:v>0.11455802343072174</c:v>
                </c:pt>
                <c:pt idx="72">
                  <c:v>0.1155128448702416</c:v>
                </c:pt>
                <c:pt idx="73">
                  <c:v>0.11514639184389264</c:v>
                </c:pt>
                <c:pt idx="74">
                  <c:v>0.11135321410226862</c:v>
                </c:pt>
                <c:pt idx="75">
                  <c:v>0.11135321410226862</c:v>
                </c:pt>
                <c:pt idx="76">
                  <c:v>0.11135321410226862</c:v>
                </c:pt>
                <c:pt idx="77">
                  <c:v>0.10682082794669245</c:v>
                </c:pt>
                <c:pt idx="78">
                  <c:v>0.09833393420878167</c:v>
                </c:pt>
                <c:pt idx="79">
                  <c:v>0.08079271085608908</c:v>
                </c:pt>
                <c:pt idx="80">
                  <c:v>0.0867247673924354</c:v>
                </c:pt>
                <c:pt idx="81">
                  <c:v>0.054298408033735646</c:v>
                </c:pt>
                <c:pt idx="82">
                  <c:v>0.054298408033735646</c:v>
                </c:pt>
                <c:pt idx="83">
                  <c:v>0.054298408033735646</c:v>
                </c:pt>
                <c:pt idx="84">
                  <c:v>0.06913049084129308</c:v>
                </c:pt>
                <c:pt idx="85">
                  <c:v>0.048233967044191584</c:v>
                </c:pt>
                <c:pt idx="86">
                  <c:v>0.04302927892933717</c:v>
                </c:pt>
                <c:pt idx="87">
                  <c:v>0.055067237886761156</c:v>
                </c:pt>
                <c:pt idx="88">
                  <c:v>0.03411694277246036</c:v>
                </c:pt>
                <c:pt idx="89">
                  <c:v>0.03411694277246036</c:v>
                </c:pt>
                <c:pt idx="90">
                  <c:v>0.03411694277246036</c:v>
                </c:pt>
                <c:pt idx="91">
                  <c:v>0.03663814265487386</c:v>
                </c:pt>
                <c:pt idx="92">
                  <c:v>0.06083219354738989</c:v>
                </c:pt>
                <c:pt idx="93">
                  <c:v>0.05997500519509136</c:v>
                </c:pt>
                <c:pt idx="94">
                  <c:v>0.04020430608806613</c:v>
                </c:pt>
                <c:pt idx="95">
                  <c:v>-0.039790457474828345</c:v>
                </c:pt>
                <c:pt idx="96">
                  <c:v>-0.039790457474828345</c:v>
                </c:pt>
                <c:pt idx="97">
                  <c:v>-0.039790457474828345</c:v>
                </c:pt>
                <c:pt idx="98">
                  <c:v>-0.0540109204467194</c:v>
                </c:pt>
                <c:pt idx="99">
                  <c:v>-0.062202797877169314</c:v>
                </c:pt>
                <c:pt idx="100">
                  <c:v>-0.04661062792531645</c:v>
                </c:pt>
                <c:pt idx="101">
                  <c:v>-0.04862235090933975</c:v>
                </c:pt>
                <c:pt idx="102">
                  <c:v>-0.05862054257831906</c:v>
                </c:pt>
                <c:pt idx="103">
                  <c:v>-0.05862054257831906</c:v>
                </c:pt>
                <c:pt idx="104">
                  <c:v>-0.05862054257831906</c:v>
                </c:pt>
                <c:pt idx="105">
                  <c:v>-0.0684371738336379</c:v>
                </c:pt>
                <c:pt idx="106">
                  <c:v>-0.049336486780608424</c:v>
                </c:pt>
                <c:pt idx="107">
                  <c:v>-0.037814851057565546</c:v>
                </c:pt>
                <c:pt idx="108">
                  <c:v>-0.023307271946546915</c:v>
                </c:pt>
                <c:pt idx="109">
                  <c:v>-0.02260678042831865</c:v>
                </c:pt>
                <c:pt idx="110">
                  <c:v>-0.02260678042831865</c:v>
                </c:pt>
                <c:pt idx="111">
                  <c:v>-0.02260678042831865</c:v>
                </c:pt>
                <c:pt idx="112">
                  <c:v>-0.01576364680000697</c:v>
                </c:pt>
                <c:pt idx="113">
                  <c:v>-0.01988487199535449</c:v>
                </c:pt>
                <c:pt idx="114">
                  <c:v>-0.022521427407453998</c:v>
                </c:pt>
                <c:pt idx="115">
                  <c:v>-0.02159307494835716</c:v>
                </c:pt>
                <c:pt idx="116">
                  <c:v>-0.020603159322787556</c:v>
                </c:pt>
                <c:pt idx="117">
                  <c:v>-0.020603159322787556</c:v>
                </c:pt>
                <c:pt idx="118">
                  <c:v>-0.020603159322787556</c:v>
                </c:pt>
                <c:pt idx="119">
                  <c:v>-0.014776304222380965</c:v>
                </c:pt>
                <c:pt idx="120">
                  <c:v>-0.0171850931729709</c:v>
                </c:pt>
                <c:pt idx="121">
                  <c:v>-0.03815689616975004</c:v>
                </c:pt>
                <c:pt idx="122">
                  <c:v>-0.04072987320258281</c:v>
                </c:pt>
                <c:pt idx="123">
                  <c:v>-0.04748779251155488</c:v>
                </c:pt>
                <c:pt idx="124">
                  <c:v>-0.04748779251155488</c:v>
                </c:pt>
                <c:pt idx="125">
                  <c:v>-0.04748779251155488</c:v>
                </c:pt>
                <c:pt idx="126">
                  <c:v>-0.05262036530739844</c:v>
                </c:pt>
                <c:pt idx="127">
                  <c:v>-0.018287575743444417</c:v>
                </c:pt>
                <c:pt idx="128">
                  <c:v>0.006514048199585787</c:v>
                </c:pt>
                <c:pt idx="129">
                  <c:v>-0.004132722102384245</c:v>
                </c:pt>
                <c:pt idx="130">
                  <c:v>-0.0022608271800068636</c:v>
                </c:pt>
                <c:pt idx="131">
                  <c:v>-0.0022608271800068636</c:v>
                </c:pt>
                <c:pt idx="132">
                  <c:v>-0.0022608271800068636</c:v>
                </c:pt>
                <c:pt idx="133">
                  <c:v>-0.0025921946786824357</c:v>
                </c:pt>
                <c:pt idx="134">
                  <c:v>-0.016255403500646026</c:v>
                </c:pt>
                <c:pt idx="135">
                  <c:v>-0.015601290203942408</c:v>
                </c:pt>
                <c:pt idx="136">
                  <c:v>-0.014284225095026137</c:v>
                </c:pt>
                <c:pt idx="137">
                  <c:v>-0.03663976652993628</c:v>
                </c:pt>
                <c:pt idx="138">
                  <c:v>-0.03663976652993628</c:v>
                </c:pt>
                <c:pt idx="139">
                  <c:v>-0.03663976652993628</c:v>
                </c:pt>
                <c:pt idx="140">
                  <c:v>-0.04944604382018403</c:v>
                </c:pt>
                <c:pt idx="141">
                  <c:v>-0.063859297183266</c:v>
                </c:pt>
                <c:pt idx="142">
                  <c:v>-0.056643707907443774</c:v>
                </c:pt>
                <c:pt idx="143">
                  <c:v>-0.06372439828339171</c:v>
                </c:pt>
                <c:pt idx="144">
                  <c:v>-0.04319086365188918</c:v>
                </c:pt>
                <c:pt idx="145">
                  <c:v>-0.04319086365188918</c:v>
                </c:pt>
                <c:pt idx="146">
                  <c:v>-0.04319086365188918</c:v>
                </c:pt>
                <c:pt idx="147">
                  <c:v>-0.008790387298631686</c:v>
                </c:pt>
                <c:pt idx="148">
                  <c:v>0.010520961220869207</c:v>
                </c:pt>
                <c:pt idx="149">
                  <c:v>0.015017131209815515</c:v>
                </c:pt>
                <c:pt idx="150">
                  <c:v>-0.006855648832140515</c:v>
                </c:pt>
                <c:pt idx="151">
                  <c:v>0.012243768822696177</c:v>
                </c:pt>
                <c:pt idx="152">
                  <c:v>0.012243768822696177</c:v>
                </c:pt>
                <c:pt idx="153">
                  <c:v>0.012243768822696177</c:v>
                </c:pt>
                <c:pt idx="154">
                  <c:v>0.02124014212390346</c:v>
                </c:pt>
                <c:pt idx="155">
                  <c:v>0.02895781925101315</c:v>
                </c:pt>
                <c:pt idx="156">
                  <c:v>0.06351812383757216</c:v>
                </c:pt>
                <c:pt idx="157">
                  <c:v>0.058717831171735124</c:v>
                </c:pt>
                <c:pt idx="158">
                  <c:v>0.0467493343133738</c:v>
                </c:pt>
                <c:pt idx="159">
                  <c:v>0.0467493343133738</c:v>
                </c:pt>
                <c:pt idx="160">
                  <c:v>0.0467493343133738</c:v>
                </c:pt>
                <c:pt idx="161">
                  <c:v>0.04520826674708078</c:v>
                </c:pt>
                <c:pt idx="162">
                  <c:v>0.06396251969061217</c:v>
                </c:pt>
                <c:pt idx="163">
                  <c:v>0.03926576394462811</c:v>
                </c:pt>
                <c:pt idx="164">
                  <c:v>-0.010344652679749156</c:v>
                </c:pt>
                <c:pt idx="165">
                  <c:v>-0.05081054436484578</c:v>
                </c:pt>
                <c:pt idx="166">
                  <c:v>-0.05081054436484578</c:v>
                </c:pt>
                <c:pt idx="167">
                  <c:v>-0.05081054436484578</c:v>
                </c:pt>
                <c:pt idx="168">
                  <c:v>-0.06211821079188695</c:v>
                </c:pt>
                <c:pt idx="169">
                  <c:v>-0.06355760962162083</c:v>
                </c:pt>
                <c:pt idx="170">
                  <c:v>-0.06602155874407667</c:v>
                </c:pt>
                <c:pt idx="171">
                  <c:v>-0.060537953383537624</c:v>
                </c:pt>
                <c:pt idx="172">
                  <c:v>-0.03283162444452714</c:v>
                </c:pt>
                <c:pt idx="173">
                  <c:v>-0.03283162444452714</c:v>
                </c:pt>
                <c:pt idx="174">
                  <c:v>-0.03283162444452714</c:v>
                </c:pt>
                <c:pt idx="175">
                  <c:v>-0.040438785841292124</c:v>
                </c:pt>
                <c:pt idx="176">
                  <c:v>-0.04875658056547383</c:v>
                </c:pt>
                <c:pt idx="177">
                  <c:v>-0.0377381782614673</c:v>
                </c:pt>
                <c:pt idx="178">
                  <c:v>-0.03664698079565598</c:v>
                </c:pt>
                <c:pt idx="179">
                  <c:v>-0.04702790148069169</c:v>
                </c:pt>
                <c:pt idx="180">
                  <c:v>-0.04702790148069169</c:v>
                </c:pt>
                <c:pt idx="181">
                  <c:v>-0.04702790148069169</c:v>
                </c:pt>
                <c:pt idx="182">
                  <c:v>-0.07715077538912396</c:v>
                </c:pt>
                <c:pt idx="183">
                  <c:v>-0.07562170120161915</c:v>
                </c:pt>
                <c:pt idx="184">
                  <c:v>-0.04324726934000578</c:v>
                </c:pt>
                <c:pt idx="185">
                  <c:v>-0.04144289320530925</c:v>
                </c:pt>
                <c:pt idx="186">
                  <c:v>-0.05128657803413739</c:v>
                </c:pt>
                <c:pt idx="187">
                  <c:v>-0.05128657803413739</c:v>
                </c:pt>
                <c:pt idx="188">
                  <c:v>-0.05128657803413739</c:v>
                </c:pt>
                <c:pt idx="189">
                  <c:v>-0.06887449240325483</c:v>
                </c:pt>
                <c:pt idx="190">
                  <c:v>-0.06356270537411579</c:v>
                </c:pt>
                <c:pt idx="191">
                  <c:v>-0.046184118101418314</c:v>
                </c:pt>
                <c:pt idx="192">
                  <c:v>-0.02808485114185022</c:v>
                </c:pt>
                <c:pt idx="193">
                  <c:v>-0.013943289805272707</c:v>
                </c:pt>
                <c:pt idx="194">
                  <c:v>-0.013943289805272707</c:v>
                </c:pt>
                <c:pt idx="195">
                  <c:v>-0.013943289805272707</c:v>
                </c:pt>
                <c:pt idx="196">
                  <c:v>-0.02003017990241518</c:v>
                </c:pt>
                <c:pt idx="197">
                  <c:v>-0.00933710752421646</c:v>
                </c:pt>
                <c:pt idx="198">
                  <c:v>-0.0218267020350843</c:v>
                </c:pt>
                <c:pt idx="199">
                  <c:v>-0.0031844349034363395</c:v>
                </c:pt>
                <c:pt idx="200">
                  <c:v>-0.0034248290988678765</c:v>
                </c:pt>
                <c:pt idx="201">
                  <c:v>-0.0034248290988678765</c:v>
                </c:pt>
                <c:pt idx="202">
                  <c:v>-0.0034248290988678765</c:v>
                </c:pt>
                <c:pt idx="203">
                  <c:v>0.009939899933486318</c:v>
                </c:pt>
                <c:pt idx="204">
                  <c:v>0.031312635932958965</c:v>
                </c:pt>
                <c:pt idx="205">
                  <c:v>0.03539877495063837</c:v>
                </c:pt>
                <c:pt idx="206">
                  <c:v>0.019083234558084028</c:v>
                </c:pt>
                <c:pt idx="207">
                  <c:v>0.028228056613867958</c:v>
                </c:pt>
                <c:pt idx="208">
                  <c:v>0.028228056613867958</c:v>
                </c:pt>
                <c:pt idx="209">
                  <c:v>0.028228056613867958</c:v>
                </c:pt>
                <c:pt idx="210">
                  <c:v>0.03177139918155514</c:v>
                </c:pt>
                <c:pt idx="211">
                  <c:v>-0.010298679373165864</c:v>
                </c:pt>
                <c:pt idx="212">
                  <c:v>-0.03250616543501905</c:v>
                </c:pt>
                <c:pt idx="213">
                  <c:v>-0.03429675831334145</c:v>
                </c:pt>
                <c:pt idx="214">
                  <c:v>-0.03743486362606652</c:v>
                </c:pt>
                <c:pt idx="215">
                  <c:v>-0.03743486362606652</c:v>
                </c:pt>
                <c:pt idx="216">
                  <c:v>-0.03743486362606652</c:v>
                </c:pt>
                <c:pt idx="217">
                  <c:v>-0.06041439845230845</c:v>
                </c:pt>
                <c:pt idx="218">
                  <c:v>-0.06388839052987727</c:v>
                </c:pt>
                <c:pt idx="219">
                  <c:v>-0.053976744972278334</c:v>
                </c:pt>
                <c:pt idx="220">
                  <c:v>-0.0672227217494541</c:v>
                </c:pt>
                <c:pt idx="221">
                  <c:v>-0.06750592387190424</c:v>
                </c:pt>
                <c:pt idx="222">
                  <c:v>-0.06750592387190424</c:v>
                </c:pt>
                <c:pt idx="223">
                  <c:v>-0.06750592387190424</c:v>
                </c:pt>
                <c:pt idx="224">
                  <c:v>-0.05608949582153622</c:v>
                </c:pt>
                <c:pt idx="225">
                  <c:v>-0.04184707596666282</c:v>
                </c:pt>
                <c:pt idx="226">
                  <c:v>-0.04933337039863128</c:v>
                </c:pt>
                <c:pt idx="227">
                  <c:v>-0.07350430619784287</c:v>
                </c:pt>
                <c:pt idx="228">
                  <c:v>-0.09046647629739923</c:v>
                </c:pt>
                <c:pt idx="229">
                  <c:v>-0.09046647629739923</c:v>
                </c:pt>
                <c:pt idx="230">
                  <c:v>-0.09046647629739923</c:v>
                </c:pt>
                <c:pt idx="231">
                  <c:v>-0.1339405669682755</c:v>
                </c:pt>
                <c:pt idx="232">
                  <c:v>-0.15213975801840096</c:v>
                </c:pt>
                <c:pt idx="233">
                  <c:v>-0.14100300241123898</c:v>
                </c:pt>
                <c:pt idx="234">
                  <c:v>-0.11361114983456289</c:v>
                </c:pt>
                <c:pt idx="235">
                  <c:v>-0.12604694687348272</c:v>
                </c:pt>
                <c:pt idx="236">
                  <c:v>-0.12604694687348272</c:v>
                </c:pt>
                <c:pt idx="237">
                  <c:v>-0.12604694687348272</c:v>
                </c:pt>
                <c:pt idx="238">
                  <c:v>-0.1270759998647324</c:v>
                </c:pt>
                <c:pt idx="239">
                  <c:v>-0.11789139110217517</c:v>
                </c:pt>
                <c:pt idx="240">
                  <c:v>-0.10013763225097949</c:v>
                </c:pt>
                <c:pt idx="241">
                  <c:v>-0.11898288310209204</c:v>
                </c:pt>
                <c:pt idx="242">
                  <c:v>-0.12970246075997938</c:v>
                </c:pt>
                <c:pt idx="243">
                  <c:v>-0.12970246075997938</c:v>
                </c:pt>
                <c:pt idx="244">
                  <c:v>-0.12970246075997938</c:v>
                </c:pt>
                <c:pt idx="245">
                  <c:v>-0.16575368930893986</c:v>
                </c:pt>
                <c:pt idx="246">
                  <c:v>-0.16566286867166247</c:v>
                </c:pt>
                <c:pt idx="247">
                  <c:v>-0.17265265424879428</c:v>
                </c:pt>
                <c:pt idx="248">
                  <c:v>-0.17906442937639355</c:v>
                </c:pt>
                <c:pt idx="249">
                  <c:v>-0.14769236017538612</c:v>
                </c:pt>
                <c:pt idx="250">
                  <c:v>-0.14769236017538612</c:v>
                </c:pt>
                <c:pt idx="251">
                  <c:v>-0.14769236017538612</c:v>
                </c:pt>
                <c:pt idx="252">
                  <c:v>-0.1570998359466831</c:v>
                </c:pt>
                <c:pt idx="253">
                  <c:v>-0.12247685835823874</c:v>
                </c:pt>
                <c:pt idx="254">
                  <c:v>-0.15203938964350716</c:v>
                </c:pt>
                <c:pt idx="255">
                  <c:v>-0.15189995178987514</c:v>
                </c:pt>
                <c:pt idx="256">
                  <c:v>-0.14801100872253292</c:v>
                </c:pt>
                <c:pt idx="257">
                  <c:v>-0.14801100872253292</c:v>
                </c:pt>
                <c:pt idx="258">
                  <c:v>-0.14801100872253292</c:v>
                </c:pt>
                <c:pt idx="259">
                  <c:v>-0.13315724473187784</c:v>
                </c:pt>
                <c:pt idx="260">
                  <c:v>-0.14072999465950164</c:v>
                </c:pt>
                <c:pt idx="261">
                  <c:v>-0.1325340787541993</c:v>
                </c:pt>
                <c:pt idx="262">
                  <c:v>-0.116001762936634</c:v>
                </c:pt>
                <c:pt idx="263">
                  <c:v>-0.08810167168955452</c:v>
                </c:pt>
                <c:pt idx="264">
                  <c:v>-0.08810167168955452</c:v>
                </c:pt>
                <c:pt idx="265">
                  <c:v>-0.08810167168955452</c:v>
                </c:pt>
                <c:pt idx="266">
                  <c:v>-0.0799551214305474</c:v>
                </c:pt>
                <c:pt idx="267">
                  <c:v>-0.08388374733223769</c:v>
                </c:pt>
                <c:pt idx="268">
                  <c:v>-0.09390550255582264</c:v>
                </c:pt>
                <c:pt idx="269">
                  <c:v>-0.07472254376522314</c:v>
                </c:pt>
                <c:pt idx="270">
                  <c:v>-0.09321591010652086</c:v>
                </c:pt>
                <c:pt idx="271">
                  <c:v>-0.09321591010652086</c:v>
                </c:pt>
                <c:pt idx="272">
                  <c:v>-0.09321591010652086</c:v>
                </c:pt>
                <c:pt idx="273">
                  <c:v>-0.09445565034198922</c:v>
                </c:pt>
                <c:pt idx="274">
                  <c:v>-0.09998828102322577</c:v>
                </c:pt>
                <c:pt idx="275">
                  <c:v>-0.10697979240270294</c:v>
                </c:pt>
                <c:pt idx="276">
                  <c:v>-0.12511929021684887</c:v>
                </c:pt>
                <c:pt idx="277">
                  <c:v>-0.14022541697631952</c:v>
                </c:pt>
                <c:pt idx="278">
                  <c:v>-0.14022541697631952</c:v>
                </c:pt>
                <c:pt idx="279">
                  <c:v>-0.14022541697631952</c:v>
                </c:pt>
                <c:pt idx="280">
                  <c:v>-0.173881190153226</c:v>
                </c:pt>
                <c:pt idx="281">
                  <c:v>-0.18340522378038238</c:v>
                </c:pt>
                <c:pt idx="282">
                  <c:v>-0.17131159623065062</c:v>
                </c:pt>
                <c:pt idx="283">
                  <c:v>-0.19842117550566718</c:v>
                </c:pt>
                <c:pt idx="284">
                  <c:v>-0.1930577708790795</c:v>
                </c:pt>
                <c:pt idx="285">
                  <c:v>-0.1930577708790795</c:v>
                </c:pt>
                <c:pt idx="286">
                  <c:v>-0.1930577708790795</c:v>
                </c:pt>
                <c:pt idx="287">
                  <c:v>-0.1848583128804674</c:v>
                </c:pt>
                <c:pt idx="288">
                  <c:v>-0.1728998341386675</c:v>
                </c:pt>
                <c:pt idx="289">
                  <c:v>-0.18211774469153408</c:v>
                </c:pt>
                <c:pt idx="290">
                  <c:v>-0.1784775755806126</c:v>
                </c:pt>
                <c:pt idx="291">
                  <c:v>-0.15157994470506864</c:v>
                </c:pt>
                <c:pt idx="292">
                  <c:v>-0.15157994470506864</c:v>
                </c:pt>
                <c:pt idx="293">
                  <c:v>-0.15157994470506864</c:v>
                </c:pt>
                <c:pt idx="294">
                  <c:v>-0.14711779509920453</c:v>
                </c:pt>
                <c:pt idx="295">
                  <c:v>-0.16170675641545929</c:v>
                </c:pt>
                <c:pt idx="296">
                  <c:v>-0.17221811994096814</c:v>
                </c:pt>
                <c:pt idx="297">
                  <c:v>-0.18618493610761033</c:v>
                </c:pt>
                <c:pt idx="298">
                  <c:v>-0.19938676291328716</c:v>
                </c:pt>
                <c:pt idx="299">
                  <c:v>-0.19938676291328716</c:v>
                </c:pt>
                <c:pt idx="300">
                  <c:v>-0.19938676291328716</c:v>
                </c:pt>
                <c:pt idx="301">
                  <c:v>-0.21224792801629033</c:v>
                </c:pt>
                <c:pt idx="302">
                  <c:v>-0.22218128526925907</c:v>
                </c:pt>
                <c:pt idx="303">
                  <c:v>-0.22015659540083854</c:v>
                </c:pt>
                <c:pt idx="304">
                  <c:v>-0.21097273733082977</c:v>
                </c:pt>
                <c:pt idx="305">
                  <c:v>-0.20739235152939428</c:v>
                </c:pt>
                <c:pt idx="306">
                  <c:v>-0.20739235152939428</c:v>
                </c:pt>
                <c:pt idx="307">
                  <c:v>-0.20739235152939428</c:v>
                </c:pt>
                <c:pt idx="308">
                  <c:v>-0.2292734689128897</c:v>
                </c:pt>
                <c:pt idx="309">
                  <c:v>-0.228283925709601</c:v>
                </c:pt>
                <c:pt idx="310">
                  <c:v>-0.22964882315146262</c:v>
                </c:pt>
                <c:pt idx="311">
                  <c:v>-0.2347043449415811</c:v>
                </c:pt>
                <c:pt idx="312">
                  <c:v>-0.2222875726712219</c:v>
                </c:pt>
                <c:pt idx="313">
                  <c:v>-0.2222875726712219</c:v>
                </c:pt>
                <c:pt idx="314">
                  <c:v>-0.2222875726712219</c:v>
                </c:pt>
                <c:pt idx="315">
                  <c:v>-0.2157152103018386</c:v>
                </c:pt>
                <c:pt idx="316">
                  <c:v>-0.19820686464201598</c:v>
                </c:pt>
                <c:pt idx="317">
                  <c:v>-0.1889360635359787</c:v>
                </c:pt>
                <c:pt idx="318">
                  <c:v>-0.1861657917439542</c:v>
                </c:pt>
                <c:pt idx="319">
                  <c:v>-0.19004506018920375</c:v>
                </c:pt>
                <c:pt idx="320">
                  <c:v>-0.19004506018920375</c:v>
                </c:pt>
                <c:pt idx="321">
                  <c:v>-0.19004506018920375</c:v>
                </c:pt>
                <c:pt idx="322">
                  <c:v>-0.19743687211722583</c:v>
                </c:pt>
                <c:pt idx="323">
                  <c:v>-0.21154172812169636</c:v>
                </c:pt>
                <c:pt idx="324">
                  <c:v>-0.17629936126404477</c:v>
                </c:pt>
                <c:pt idx="325">
                  <c:v>-0.1616504607885122</c:v>
                </c:pt>
                <c:pt idx="326">
                  <c:v>-0.17723122598376306</c:v>
                </c:pt>
                <c:pt idx="327">
                  <c:v>-0.17723122598376306</c:v>
                </c:pt>
                <c:pt idx="328">
                  <c:v>-0.17723122598376306</c:v>
                </c:pt>
                <c:pt idx="329">
                  <c:v>-0.17195076450375013</c:v>
                </c:pt>
                <c:pt idx="330">
                  <c:v>-0.17678648063272195</c:v>
                </c:pt>
                <c:pt idx="331">
                  <c:v>-0.18693075634469358</c:v>
                </c:pt>
                <c:pt idx="332">
                  <c:v>-0.1722701716109012</c:v>
                </c:pt>
                <c:pt idx="333">
                  <c:v>-0.17172760797556452</c:v>
                </c:pt>
                <c:pt idx="334">
                  <c:v>-0.17172760797556452</c:v>
                </c:pt>
                <c:pt idx="335">
                  <c:v>-0.17172760797556452</c:v>
                </c:pt>
                <c:pt idx="336">
                  <c:v>-0.16684551017483773</c:v>
                </c:pt>
                <c:pt idx="337">
                  <c:v>-0.1848200720239065</c:v>
                </c:pt>
                <c:pt idx="338">
                  <c:v>-0.15724276486712885</c:v>
                </c:pt>
                <c:pt idx="339">
                  <c:v>-0.15741285256723703</c:v>
                </c:pt>
                <c:pt idx="340">
                  <c:v>-0.1455552499590933</c:v>
                </c:pt>
                <c:pt idx="341">
                  <c:v>-0.1455552499590933</c:v>
                </c:pt>
                <c:pt idx="342">
                  <c:v>-0.1455552499590933</c:v>
                </c:pt>
                <c:pt idx="343">
                  <c:v>-0.1455183177704782</c:v>
                </c:pt>
                <c:pt idx="344">
                  <c:v>-0.14243362908667712</c:v>
                </c:pt>
                <c:pt idx="345">
                  <c:v>-0.15281556853019596</c:v>
                </c:pt>
                <c:pt idx="346">
                  <c:v>-0.15201217679100132</c:v>
                </c:pt>
                <c:pt idx="347">
                  <c:v>-0.1625223788164385</c:v>
                </c:pt>
                <c:pt idx="348">
                  <c:v>-0.1625223788164385</c:v>
                </c:pt>
                <c:pt idx="349">
                  <c:v>-0.1625223788164385</c:v>
                </c:pt>
                <c:pt idx="350">
                  <c:v>-0.17515731610771135</c:v>
                </c:pt>
                <c:pt idx="351">
                  <c:v>-0.17741086161929598</c:v>
                </c:pt>
                <c:pt idx="352">
                  <c:v>-0.1755570337210327</c:v>
                </c:pt>
                <c:pt idx="353">
                  <c:v>-0.1633764633521836</c:v>
                </c:pt>
                <c:pt idx="354">
                  <c:v>-0.18388339980044088</c:v>
                </c:pt>
                <c:pt idx="355">
                  <c:v>-0.18388339980044088</c:v>
                </c:pt>
                <c:pt idx="356">
                  <c:v>-0.18388339980044088</c:v>
                </c:pt>
                <c:pt idx="357">
                  <c:v>-0.18351206153632627</c:v>
                </c:pt>
                <c:pt idx="358">
                  <c:v>-0.20050988564457173</c:v>
                </c:pt>
                <c:pt idx="359">
                  <c:v>-0.211162461913175</c:v>
                </c:pt>
                <c:pt idx="360">
                  <c:v>-0.2342713736497003</c:v>
                </c:pt>
                <c:pt idx="361">
                  <c:v>-0.26031017501023335</c:v>
                </c:pt>
                <c:pt idx="362">
                  <c:v>-0.26031017501023335</c:v>
                </c:pt>
                <c:pt idx="363">
                  <c:v>-0.26031017501023335</c:v>
                </c:pt>
                <c:pt idx="364">
                  <c:v>-0.2643918907969284</c:v>
                </c:pt>
                <c:pt idx="365">
                  <c:v>-0.2648073088019479</c:v>
                </c:pt>
                <c:pt idx="366">
                  <c:v>-0.25516729896048906</c:v>
                </c:pt>
                <c:pt idx="367">
                  <c:v>-0.25007766009367827</c:v>
                </c:pt>
                <c:pt idx="368">
                  <c:v>-0.23508885075966846</c:v>
                </c:pt>
                <c:pt idx="369">
                  <c:v>-0.23508885075966846</c:v>
                </c:pt>
                <c:pt idx="370">
                  <c:v>-0.23508885075966846</c:v>
                </c:pt>
                <c:pt idx="371">
                  <c:v>-0.22999032909306838</c:v>
                </c:pt>
                <c:pt idx="372">
                  <c:v>-0.2516763929547631</c:v>
                </c:pt>
                <c:pt idx="373">
                  <c:v>-0.2508418194959202</c:v>
                </c:pt>
                <c:pt idx="374">
                  <c:v>-0.26170238272072077</c:v>
                </c:pt>
                <c:pt idx="375">
                  <c:v>-0.2685457150409155</c:v>
                </c:pt>
                <c:pt idx="376">
                  <c:v>-0.2685457150409155</c:v>
                </c:pt>
                <c:pt idx="377">
                  <c:v>-0.2685457150409155</c:v>
                </c:pt>
                <c:pt idx="378">
                  <c:v>-0.27901480138628687</c:v>
                </c:pt>
                <c:pt idx="379">
                  <c:v>-0.26720526971888936</c:v>
                </c:pt>
                <c:pt idx="380">
                  <c:v>-0.2687858473576167</c:v>
                </c:pt>
                <c:pt idx="381">
                  <c:v>-0.2856188262180964</c:v>
                </c:pt>
                <c:pt idx="382">
                  <c:v>-0.3007545220295281</c:v>
                </c:pt>
                <c:pt idx="383">
                  <c:v>-0.3007545220295281</c:v>
                </c:pt>
                <c:pt idx="384">
                  <c:v>-0.3007545220295281</c:v>
                </c:pt>
                <c:pt idx="385">
                  <c:v>-0.28437707932037093</c:v>
                </c:pt>
                <c:pt idx="386">
                  <c:v>-0.30151511321980373</c:v>
                </c:pt>
                <c:pt idx="387">
                  <c:v>-0.2939065591840173</c:v>
                </c:pt>
                <c:pt idx="388">
                  <c:v>-0.30948657525840273</c:v>
                </c:pt>
                <c:pt idx="389">
                  <c:v>-0.3137144899813604</c:v>
                </c:pt>
                <c:pt idx="390">
                  <c:v>-0.3137144899813604</c:v>
                </c:pt>
                <c:pt idx="391">
                  <c:v>-0.3137144899813604</c:v>
                </c:pt>
                <c:pt idx="392">
                  <c:v>-0.29897857413484497</c:v>
                </c:pt>
                <c:pt idx="393">
                  <c:v>-0.28095004178002925</c:v>
                </c:pt>
                <c:pt idx="394">
                  <c:v>-0.2821284204719311</c:v>
                </c:pt>
                <c:pt idx="395">
                  <c:v>-0.2835284769333243</c:v>
                </c:pt>
                <c:pt idx="396">
                  <c:v>-0.3051780084116027</c:v>
                </c:pt>
                <c:pt idx="397">
                  <c:v>-0.3051780084116027</c:v>
                </c:pt>
                <c:pt idx="398">
                  <c:v>-0.3051780084116027</c:v>
                </c:pt>
                <c:pt idx="399">
                  <c:v>-0.30431700162304176</c:v>
                </c:pt>
                <c:pt idx="400">
                  <c:v>-0.3171319531679042</c:v>
                </c:pt>
                <c:pt idx="401">
                  <c:v>-0.3200663005401416</c:v>
                </c:pt>
                <c:pt idx="402">
                  <c:v>-0.3088457717937405</c:v>
                </c:pt>
                <c:pt idx="403">
                  <c:v>-0.3175436893865863</c:v>
                </c:pt>
                <c:pt idx="404">
                  <c:v>-0.3175436893865863</c:v>
                </c:pt>
                <c:pt idx="405">
                  <c:v>-0.3175436893865863</c:v>
                </c:pt>
                <c:pt idx="406">
                  <c:v>-0.30047198700524613</c:v>
                </c:pt>
                <c:pt idx="407">
                  <c:v>-0.29398876869000456</c:v>
                </c:pt>
                <c:pt idx="408">
                  <c:v>-0.3021251739286386</c:v>
                </c:pt>
                <c:pt idx="409">
                  <c:v>-0.30402760013216557</c:v>
                </c:pt>
                <c:pt idx="410">
                  <c:v>-0.28998487586608024</c:v>
                </c:pt>
                <c:pt idx="411">
                  <c:v>-0.28998487586608024</c:v>
                </c:pt>
                <c:pt idx="412">
                  <c:v>-0.28998487586608024</c:v>
                </c:pt>
                <c:pt idx="413">
                  <c:v>-0.2996516079508055</c:v>
                </c:pt>
                <c:pt idx="414">
                  <c:v>-0.2840524157361475</c:v>
                </c:pt>
                <c:pt idx="415">
                  <c:v>-0.27566841639563466</c:v>
                </c:pt>
                <c:pt idx="416">
                  <c:v>-0.2837500855516366</c:v>
                </c:pt>
                <c:pt idx="417">
                  <c:v>-0.2805701042404912</c:v>
                </c:pt>
                <c:pt idx="418">
                  <c:v>-0.2805701042404912</c:v>
                </c:pt>
                <c:pt idx="419">
                  <c:v>-0.2805701042404912</c:v>
                </c:pt>
                <c:pt idx="420">
                  <c:v>-0.2851851299298124</c:v>
                </c:pt>
                <c:pt idx="421">
                  <c:v>-0.2723549585069992</c:v>
                </c:pt>
                <c:pt idx="422">
                  <c:v>-0.292212449349606</c:v>
                </c:pt>
                <c:pt idx="423">
                  <c:v>-0.29982267109145644</c:v>
                </c:pt>
                <c:pt idx="424">
                  <c:v>-0.27814848382494983</c:v>
                </c:pt>
                <c:pt idx="425">
                  <c:v>-0.27814848382494983</c:v>
                </c:pt>
                <c:pt idx="426">
                  <c:v>-0.27814848382494983</c:v>
                </c:pt>
                <c:pt idx="427">
                  <c:v>-0.2715319865771175</c:v>
                </c:pt>
                <c:pt idx="428">
                  <c:v>-0.2504241861777152</c:v>
                </c:pt>
                <c:pt idx="429">
                  <c:v>-0.2625608534709135</c:v>
                </c:pt>
                <c:pt idx="430">
                  <c:v>-0.22098562872702476</c:v>
                </c:pt>
                <c:pt idx="431">
                  <c:v>-0.20100354264329656</c:v>
                </c:pt>
                <c:pt idx="432">
                  <c:v>-0.20100354264329656</c:v>
                </c:pt>
                <c:pt idx="433">
                  <c:v>-0.20100354264329656</c:v>
                </c:pt>
                <c:pt idx="434">
                  <c:v>-0.2105427477190105</c:v>
                </c:pt>
                <c:pt idx="435">
                  <c:v>-0.1929477706312338</c:v>
                </c:pt>
                <c:pt idx="436">
                  <c:v>-0.20379713324012494</c:v>
                </c:pt>
                <c:pt idx="437">
                  <c:v>-0.20820749321106746</c:v>
                </c:pt>
                <c:pt idx="438">
                  <c:v>-0.2056727528008373</c:v>
                </c:pt>
                <c:pt idx="439">
                  <c:v>-0.2056727528008373</c:v>
                </c:pt>
                <c:pt idx="440">
                  <c:v>-0.2056727528008373</c:v>
                </c:pt>
                <c:pt idx="441">
                  <c:v>-0.2114843999761995</c:v>
                </c:pt>
                <c:pt idx="442">
                  <c:v>-0.20156910206130818</c:v>
                </c:pt>
                <c:pt idx="443">
                  <c:v>-0.1923649682809364</c:v>
                </c:pt>
                <c:pt idx="444">
                  <c:v>-0.18845902889126764</c:v>
                </c:pt>
                <c:pt idx="445">
                  <c:v>-0.18958704567812434</c:v>
                </c:pt>
                <c:pt idx="446">
                  <c:v>-0.18958704567812434</c:v>
                </c:pt>
                <c:pt idx="447">
                  <c:v>-0.18958704567812434</c:v>
                </c:pt>
                <c:pt idx="448">
                  <c:v>-0.2011883559393184</c:v>
                </c:pt>
                <c:pt idx="449">
                  <c:v>-0.19292694883640782</c:v>
                </c:pt>
                <c:pt idx="450">
                  <c:v>-0.16887895830163813</c:v>
                </c:pt>
                <c:pt idx="451">
                  <c:v>-0.15902041263509892</c:v>
                </c:pt>
                <c:pt idx="452">
                  <c:v>-0.15603751206549754</c:v>
                </c:pt>
                <c:pt idx="453">
                  <c:v>-0.15603751206549754</c:v>
                </c:pt>
                <c:pt idx="454">
                  <c:v>-0.15603751206549754</c:v>
                </c:pt>
                <c:pt idx="455">
                  <c:v>-0.1584270913735698</c:v>
                </c:pt>
                <c:pt idx="456">
                  <c:v>-0.16987030016717175</c:v>
                </c:pt>
                <c:pt idx="457">
                  <c:v>-0.1707841294759087</c:v>
                </c:pt>
                <c:pt idx="458">
                  <c:v>-0.1559516558934918</c:v>
                </c:pt>
                <c:pt idx="459">
                  <c:v>-0.15287736329587953</c:v>
                </c:pt>
                <c:pt idx="460">
                  <c:v>-0.15287736329587953</c:v>
                </c:pt>
                <c:pt idx="461">
                  <c:v>-0.15287736329587953</c:v>
                </c:pt>
                <c:pt idx="462">
                  <c:v>-0.14992441036945758</c:v>
                </c:pt>
                <c:pt idx="463">
                  <c:v>-0.13997978741183137</c:v>
                </c:pt>
                <c:pt idx="464">
                  <c:v>-0.13843790196079087</c:v>
                </c:pt>
                <c:pt idx="465">
                  <c:v>-0.15945314850735615</c:v>
                </c:pt>
                <c:pt idx="466">
                  <c:v>-0.1620626952570462</c:v>
                </c:pt>
                <c:pt idx="467">
                  <c:v>-0.1620626952570462</c:v>
                </c:pt>
                <c:pt idx="468">
                  <c:v>-0.1620626952570462</c:v>
                </c:pt>
                <c:pt idx="469">
                  <c:v>-0.15854023151920493</c:v>
                </c:pt>
                <c:pt idx="470">
                  <c:v>-0.1647238826580797</c:v>
                </c:pt>
                <c:pt idx="471">
                  <c:v>-0.149277413509054</c:v>
                </c:pt>
                <c:pt idx="472">
                  <c:v>-0.15655351351216906</c:v>
                </c:pt>
                <c:pt idx="473">
                  <c:v>-0.15224969589880166</c:v>
                </c:pt>
                <c:pt idx="474">
                  <c:v>-0.15224969589880166</c:v>
                </c:pt>
                <c:pt idx="475">
                  <c:v>-0.15224969589880166</c:v>
                </c:pt>
                <c:pt idx="476">
                  <c:v>-0.14834353266470413</c:v>
                </c:pt>
                <c:pt idx="477">
                  <c:v>-0.1551174681161004</c:v>
                </c:pt>
                <c:pt idx="478">
                  <c:v>-0.15766206471161814</c:v>
                </c:pt>
                <c:pt idx="479">
                  <c:v>-0.1422647238928153</c:v>
                </c:pt>
                <c:pt idx="480">
                  <c:v>-0.14160044263904492</c:v>
                </c:pt>
                <c:pt idx="481">
                  <c:v>-0.14160044263904492</c:v>
                </c:pt>
                <c:pt idx="482">
                  <c:v>-0.14160044263904492</c:v>
                </c:pt>
                <c:pt idx="483">
                  <c:v>-0.1372399268191543</c:v>
                </c:pt>
                <c:pt idx="484">
                  <c:v>-0.1412076680130515</c:v>
                </c:pt>
                <c:pt idx="485">
                  <c:v>-0.12754827009534897</c:v>
                </c:pt>
                <c:pt idx="486">
                  <c:v>-0.12786091899979357</c:v>
                </c:pt>
                <c:pt idx="487">
                  <c:v>-0.10870134600668113</c:v>
                </c:pt>
                <c:pt idx="488">
                  <c:v>-0.10870134600668113</c:v>
                </c:pt>
                <c:pt idx="489">
                  <c:v>-0.10870134600668113</c:v>
                </c:pt>
                <c:pt idx="490">
                  <c:v>-0.09476708517435517</c:v>
                </c:pt>
                <c:pt idx="491">
                  <c:v>-0.08853710856523134</c:v>
                </c:pt>
                <c:pt idx="492">
                  <c:v>-0.07635385464495592</c:v>
                </c:pt>
                <c:pt idx="493">
                  <c:v>-0.06636861562947671</c:v>
                </c:pt>
                <c:pt idx="494">
                  <c:v>-0.06403743143650231</c:v>
                </c:pt>
                <c:pt idx="495">
                  <c:v>-0.06403743143650231</c:v>
                </c:pt>
                <c:pt idx="496">
                  <c:v>-0.06403743143650231</c:v>
                </c:pt>
                <c:pt idx="497">
                  <c:v>-0.06932866022093498</c:v>
                </c:pt>
                <c:pt idx="498">
                  <c:v>-0.06255073583976789</c:v>
                </c:pt>
                <c:pt idx="499">
                  <c:v>-0.062385801333247004</c:v>
                </c:pt>
                <c:pt idx="500">
                  <c:v>-0.06815985612645636</c:v>
                </c:pt>
                <c:pt idx="501">
                  <c:v>-0.040707242284113265</c:v>
                </c:pt>
                <c:pt idx="502">
                  <c:v>-0.040707242284113265</c:v>
                </c:pt>
                <c:pt idx="503">
                  <c:v>-0.040707242284113265</c:v>
                </c:pt>
                <c:pt idx="504">
                  <c:v>-0.032422299709321534</c:v>
                </c:pt>
                <c:pt idx="505">
                  <c:v>-0.026787845169802704</c:v>
                </c:pt>
                <c:pt idx="506">
                  <c:v>-0.02539876582298095</c:v>
                </c:pt>
                <c:pt idx="507">
                  <c:v>-0.009832551197613726</c:v>
                </c:pt>
                <c:pt idx="508">
                  <c:v>0.0009749322806571481</c:v>
                </c:pt>
                <c:pt idx="509">
                  <c:v>0.0009749322806571481</c:v>
                </c:pt>
                <c:pt idx="510">
                  <c:v>0.0009749322806571481</c:v>
                </c:pt>
                <c:pt idx="511">
                  <c:v>-0.012096448978106245</c:v>
                </c:pt>
                <c:pt idx="512">
                  <c:v>-0.0004367231446046338</c:v>
                </c:pt>
                <c:pt idx="513">
                  <c:v>0.017007620569229553</c:v>
                </c:pt>
                <c:pt idx="514">
                  <c:v>0.039626429705581945</c:v>
                </c:pt>
                <c:pt idx="515">
                  <c:v>0.02568424256041557</c:v>
                </c:pt>
                <c:pt idx="516">
                  <c:v>0.02568424256041557</c:v>
                </c:pt>
                <c:pt idx="517">
                  <c:v>0.02568424256041557</c:v>
                </c:pt>
                <c:pt idx="518">
                  <c:v>0.01844154475623827</c:v>
                </c:pt>
                <c:pt idx="519">
                  <c:v>0.020927135837764288</c:v>
                </c:pt>
                <c:pt idx="520">
                  <c:v>0.009725552117896497</c:v>
                </c:pt>
                <c:pt idx="521">
                  <c:v>0.013531745778530446</c:v>
                </c:pt>
                <c:pt idx="522">
                  <c:v>0.0023007207916689865</c:v>
                </c:pt>
                <c:pt idx="523">
                  <c:v>0.0023007207916689865</c:v>
                </c:pt>
                <c:pt idx="524">
                  <c:v>0.0023007207916689865</c:v>
                </c:pt>
                <c:pt idx="525">
                  <c:v>0.01224449072536471</c:v>
                </c:pt>
                <c:pt idx="526">
                  <c:v>0.020738445406593753</c:v>
                </c:pt>
                <c:pt idx="527">
                  <c:v>0.02341980594377313</c:v>
                </c:pt>
                <c:pt idx="528">
                  <c:v>0.01640408836318663</c:v>
                </c:pt>
                <c:pt idx="529">
                  <c:v>0.006373467705350855</c:v>
                </c:pt>
                <c:pt idx="530">
                  <c:v>0.006373467705350855</c:v>
                </c:pt>
                <c:pt idx="531">
                  <c:v>0.006373467705350855</c:v>
                </c:pt>
                <c:pt idx="532">
                  <c:v>0.005073857646409996</c:v>
                </c:pt>
                <c:pt idx="533">
                  <c:v>-0.002933049180094738</c:v>
                </c:pt>
                <c:pt idx="534">
                  <c:v>-0.006808461599748128</c:v>
                </c:pt>
                <c:pt idx="535">
                  <c:v>0.009164722576498141</c:v>
                </c:pt>
                <c:pt idx="536">
                  <c:v>-0.007385103440669116</c:v>
                </c:pt>
                <c:pt idx="537">
                  <c:v>-0.007385103440669116</c:v>
                </c:pt>
                <c:pt idx="538">
                  <c:v>-0.007385103440669116</c:v>
                </c:pt>
                <c:pt idx="539">
                  <c:v>0.0023274118215643735</c:v>
                </c:pt>
                <c:pt idx="540">
                  <c:v>0.0067162680378192174</c:v>
                </c:pt>
                <c:pt idx="541">
                  <c:v>0.014646476728880309</c:v>
                </c:pt>
                <c:pt idx="542">
                  <c:v>0.018433883228249348</c:v>
                </c:pt>
                <c:pt idx="543">
                  <c:v>0.04268775555121174</c:v>
                </c:pt>
                <c:pt idx="544">
                  <c:v>0.04268775555121174</c:v>
                </c:pt>
                <c:pt idx="545">
                  <c:v>0.04268775555121174</c:v>
                </c:pt>
                <c:pt idx="546">
                  <c:v>0.040711653225282696</c:v>
                </c:pt>
                <c:pt idx="547">
                  <c:v>0.029273975643220984</c:v>
                </c:pt>
                <c:pt idx="548">
                  <c:v>0.032202816042337545</c:v>
                </c:pt>
                <c:pt idx="549">
                  <c:v>0.014470719080338368</c:v>
                </c:pt>
                <c:pt idx="550">
                  <c:v>-0.001148979582143883</c:v>
                </c:pt>
                <c:pt idx="551">
                  <c:v>-0.001148979582143883</c:v>
                </c:pt>
                <c:pt idx="552">
                  <c:v>-0.001148979582143883</c:v>
                </c:pt>
                <c:pt idx="553">
                  <c:v>-0.003982549910280797</c:v>
                </c:pt>
                <c:pt idx="554">
                  <c:v>0.024062071834275445</c:v>
                </c:pt>
                <c:pt idx="555">
                  <c:v>0.003580051997812417</c:v>
                </c:pt>
                <c:pt idx="556">
                  <c:v>0.028236340109607072</c:v>
                </c:pt>
                <c:pt idx="557">
                  <c:v>0.021131176893685266</c:v>
                </c:pt>
                <c:pt idx="558">
                  <c:v>0.021131176893685266</c:v>
                </c:pt>
                <c:pt idx="559">
                  <c:v>0.021131176893685266</c:v>
                </c:pt>
                <c:pt idx="560">
                  <c:v>0.01280635713329037</c:v>
                </c:pt>
                <c:pt idx="561">
                  <c:v>0.05162185549069287</c:v>
                </c:pt>
                <c:pt idx="562">
                  <c:v>0.05288703028180164</c:v>
                </c:pt>
                <c:pt idx="563">
                  <c:v>0.06975599615936079</c:v>
                </c:pt>
                <c:pt idx="564">
                  <c:v>0.0748781153573872</c:v>
                </c:pt>
                <c:pt idx="565">
                  <c:v>0.0748781153573872</c:v>
                </c:pt>
                <c:pt idx="566">
                  <c:v>0.0748781153573872</c:v>
                </c:pt>
                <c:pt idx="567">
                  <c:v>0.0767025385416451</c:v>
                </c:pt>
                <c:pt idx="568">
                  <c:v>0.0846049037187322</c:v>
                </c:pt>
                <c:pt idx="569">
                  <c:v>0.09564839544966386</c:v>
                </c:pt>
                <c:pt idx="570">
                  <c:v>0.108860396456129</c:v>
                </c:pt>
                <c:pt idx="571">
                  <c:v>0.1260826161775621</c:v>
                </c:pt>
                <c:pt idx="572">
                  <c:v>0.1260826161775621</c:v>
                </c:pt>
                <c:pt idx="573">
                  <c:v>0.1260826161775621</c:v>
                </c:pt>
                <c:pt idx="574">
                  <c:v>0.11586956123160186</c:v>
                </c:pt>
                <c:pt idx="575">
                  <c:v>0.07943926233089327</c:v>
                </c:pt>
                <c:pt idx="576">
                  <c:v>0.05031714330528736</c:v>
                </c:pt>
                <c:pt idx="577">
                  <c:v>0.027890961611268805</c:v>
                </c:pt>
                <c:pt idx="578">
                  <c:v>0.020758058952779157</c:v>
                </c:pt>
                <c:pt idx="579">
                  <c:v>0.020758058952779157</c:v>
                </c:pt>
                <c:pt idx="580">
                  <c:v>0.020758058952779157</c:v>
                </c:pt>
                <c:pt idx="581">
                  <c:v>0.01459531971392436</c:v>
                </c:pt>
                <c:pt idx="582">
                  <c:v>0.02981974027026979</c:v>
                </c:pt>
                <c:pt idx="583">
                  <c:v>-0.0021022350022062986</c:v>
                </c:pt>
                <c:pt idx="584">
                  <c:v>-0.018302351386821347</c:v>
                </c:pt>
                <c:pt idx="585">
                  <c:v>-0.019925116508457963</c:v>
                </c:pt>
                <c:pt idx="586">
                  <c:v>-0.019925116508457963</c:v>
                </c:pt>
                <c:pt idx="587">
                  <c:v>-0.019925116508457963</c:v>
                </c:pt>
                <c:pt idx="588">
                  <c:v>-0.039222645098356934</c:v>
                </c:pt>
                <c:pt idx="589">
                  <c:v>-0.06418374540958027</c:v>
                </c:pt>
                <c:pt idx="590">
                  <c:v>-0.0682124921670163</c:v>
                </c:pt>
                <c:pt idx="591">
                  <c:v>-0.09298345287288945</c:v>
                </c:pt>
                <c:pt idx="592">
                  <c:v>-0.10712391028524693</c:v>
                </c:pt>
                <c:pt idx="593">
                  <c:v>-0.10712391028524693</c:v>
                </c:pt>
                <c:pt idx="594">
                  <c:v>-0.10712391028524693</c:v>
                </c:pt>
                <c:pt idx="595">
                  <c:v>-0.09785201101554786</c:v>
                </c:pt>
                <c:pt idx="596">
                  <c:v>-0.11602745499132339</c:v>
                </c:pt>
                <c:pt idx="597">
                  <c:v>-0.10408348089549624</c:v>
                </c:pt>
                <c:pt idx="598">
                  <c:v>-0.0846219732324549</c:v>
                </c:pt>
                <c:pt idx="599">
                  <c:v>-0.07660711445636958</c:v>
                </c:pt>
                <c:pt idx="600">
                  <c:v>-0.07660711445636958</c:v>
                </c:pt>
                <c:pt idx="601">
                  <c:v>-0.07660711445636958</c:v>
                </c:pt>
                <c:pt idx="602">
                  <c:v>-0.08605112879641652</c:v>
                </c:pt>
                <c:pt idx="603">
                  <c:v>-0.08515671705725592</c:v>
                </c:pt>
                <c:pt idx="604">
                  <c:v>-0.08686500534516828</c:v>
                </c:pt>
                <c:pt idx="605">
                  <c:v>-0.08759703713535338</c:v>
                </c:pt>
                <c:pt idx="606">
                  <c:v>-0.06257226459077159</c:v>
                </c:pt>
                <c:pt idx="607">
                  <c:v>-0.06257226459077159</c:v>
                </c:pt>
                <c:pt idx="608">
                  <c:v>-0.06257226459077159</c:v>
                </c:pt>
                <c:pt idx="609">
                  <c:v>-0.05624952387898574</c:v>
                </c:pt>
                <c:pt idx="610">
                  <c:v>-0.05812604044532632</c:v>
                </c:pt>
                <c:pt idx="611">
                  <c:v>-0.04861538797512743</c:v>
                </c:pt>
                <c:pt idx="612">
                  <c:v>-0.05011789139650502</c:v>
                </c:pt>
                <c:pt idx="613">
                  <c:v>-0.048919114432040334</c:v>
                </c:pt>
                <c:pt idx="614">
                  <c:v>-0.048919114432040334</c:v>
                </c:pt>
                <c:pt idx="615">
                  <c:v>-0.048919114432040334</c:v>
                </c:pt>
                <c:pt idx="616">
                  <c:v>-0.03898120889832479</c:v>
                </c:pt>
                <c:pt idx="617">
                  <c:v>-0.019018866643820798</c:v>
                </c:pt>
                <c:pt idx="618">
                  <c:v>-0.012520477051403023</c:v>
                </c:pt>
                <c:pt idx="619">
                  <c:v>-0.010403449141084264</c:v>
                </c:pt>
                <c:pt idx="620">
                  <c:v>-0.01011479309075336</c:v>
                </c:pt>
                <c:pt idx="621">
                  <c:v>-0.01011479309075336</c:v>
                </c:pt>
                <c:pt idx="622">
                  <c:v>-0.01011479309075336</c:v>
                </c:pt>
                <c:pt idx="623">
                  <c:v>-2.9092624341697793e-05</c:v>
                </c:pt>
                <c:pt idx="624">
                  <c:v>-0.008856244476383002</c:v>
                </c:pt>
                <c:pt idx="625">
                  <c:v>-0.005542576147396172</c:v>
                </c:pt>
                <c:pt idx="626">
                  <c:v>0.017012752655604757</c:v>
                </c:pt>
                <c:pt idx="627">
                  <c:v>0.040624915087871916</c:v>
                </c:pt>
                <c:pt idx="628">
                  <c:v>0.040624915087871916</c:v>
                </c:pt>
                <c:pt idx="629">
                  <c:v>0.040624915087871916</c:v>
                </c:pt>
                <c:pt idx="630">
                  <c:v>0.037059093745110516</c:v>
                </c:pt>
                <c:pt idx="631">
                  <c:v>0.04015319174706944</c:v>
                </c:pt>
                <c:pt idx="632">
                  <c:v>0.02530637993570939</c:v>
                </c:pt>
                <c:pt idx="633">
                  <c:v>0.04934711011720894</c:v>
                </c:pt>
                <c:pt idx="634">
                  <c:v>0.06501559316800454</c:v>
                </c:pt>
                <c:pt idx="635">
                  <c:v>0.06501559316800454</c:v>
                </c:pt>
                <c:pt idx="636">
                  <c:v>0.06501559316800454</c:v>
                </c:pt>
                <c:pt idx="637">
                  <c:v>0.07831378204934492</c:v>
                </c:pt>
                <c:pt idx="638">
                  <c:v>0.08006074843656652</c:v>
                </c:pt>
                <c:pt idx="639">
                  <c:v>0.08672250266244608</c:v>
                </c:pt>
                <c:pt idx="640">
                  <c:v>0.0964931606072772</c:v>
                </c:pt>
                <c:pt idx="641">
                  <c:v>0.1038500140732721</c:v>
                </c:pt>
                <c:pt idx="642">
                  <c:v>0.1038500140732721</c:v>
                </c:pt>
                <c:pt idx="643">
                  <c:v>0.1038500140732721</c:v>
                </c:pt>
                <c:pt idx="644">
                  <c:v>0.11238608660826488</c:v>
                </c:pt>
                <c:pt idx="645">
                  <c:v>0.10717824027753031</c:v>
                </c:pt>
                <c:pt idx="646">
                  <c:v>0.07014943349173675</c:v>
                </c:pt>
                <c:pt idx="647">
                  <c:v>0.08459963589524877</c:v>
                </c:pt>
                <c:pt idx="648">
                  <c:v>0.10151082837535053</c:v>
                </c:pt>
                <c:pt idx="649">
                  <c:v>0.10151082837535053</c:v>
                </c:pt>
                <c:pt idx="650">
                  <c:v>0.10151082837535053</c:v>
                </c:pt>
                <c:pt idx="651">
                  <c:v>0.0957116764184387</c:v>
                </c:pt>
                <c:pt idx="652">
                  <c:v>0.09614821380086602</c:v>
                </c:pt>
                <c:pt idx="653">
                  <c:v>-0.019568317759601994</c:v>
                </c:pt>
                <c:pt idx="654">
                  <c:v>-0.02084668519625732</c:v>
                </c:pt>
                <c:pt idx="655">
                  <c:v>-0.015877702599200072</c:v>
                </c:pt>
                <c:pt idx="656">
                  <c:v>-0.015877702599200072</c:v>
                </c:pt>
                <c:pt idx="657">
                  <c:v>-0.015877702599200072</c:v>
                </c:pt>
                <c:pt idx="658">
                  <c:v>-0.06411912475753112</c:v>
                </c:pt>
                <c:pt idx="659">
                  <c:v>-0.0481499246695033</c:v>
                </c:pt>
                <c:pt idx="660">
                  <c:v>-0.04234368578410608</c:v>
                </c:pt>
                <c:pt idx="661">
                  <c:v>-0.04224548069835532</c:v>
                </c:pt>
                <c:pt idx="662">
                  <c:v>-0.0193780058995624</c:v>
                </c:pt>
                <c:pt idx="663">
                  <c:v>-0.0193780058995624</c:v>
                </c:pt>
                <c:pt idx="664">
                  <c:v>-0.0193780058995624</c:v>
                </c:pt>
                <c:pt idx="665">
                  <c:v>-0.004462327660363585</c:v>
                </c:pt>
                <c:pt idx="666">
                  <c:v>0.010010653702980932</c:v>
                </c:pt>
                <c:pt idx="667">
                  <c:v>0.006198687637722244</c:v>
                </c:pt>
                <c:pt idx="668">
                  <c:v>-0.01890946805000404</c:v>
                </c:pt>
                <c:pt idx="669">
                  <c:v>0.027873106079332244</c:v>
                </c:pt>
                <c:pt idx="670">
                  <c:v>0.027873106079332244</c:v>
                </c:pt>
                <c:pt idx="671">
                  <c:v>0.027873106079332244</c:v>
                </c:pt>
                <c:pt idx="672">
                  <c:v>0.006481636328558471</c:v>
                </c:pt>
                <c:pt idx="673">
                  <c:v>0.03323521090365933</c:v>
                </c:pt>
                <c:pt idx="674">
                  <c:v>0.06141219095001271</c:v>
                </c:pt>
                <c:pt idx="675">
                  <c:v>0.07581264984565461</c:v>
                </c:pt>
                <c:pt idx="676">
                  <c:v>0.08378854457069607</c:v>
                </c:pt>
                <c:pt idx="677">
                  <c:v>0.08378854457069607</c:v>
                </c:pt>
                <c:pt idx="678">
                  <c:v>0.08378854457069607</c:v>
                </c:pt>
                <c:pt idx="679">
                  <c:v>0.09505636422534591</c:v>
                </c:pt>
                <c:pt idx="680">
                  <c:v>0.11689185052697493</c:v>
                </c:pt>
                <c:pt idx="681">
                  <c:v>0.11869370815944458</c:v>
                </c:pt>
                <c:pt idx="682">
                  <c:v>0.10743921504504228</c:v>
                </c:pt>
                <c:pt idx="683">
                  <c:v>0.11316540510886797</c:v>
                </c:pt>
                <c:pt idx="684">
                  <c:v>0.11316540510886797</c:v>
                </c:pt>
                <c:pt idx="685">
                  <c:v>0.11316540510886797</c:v>
                </c:pt>
                <c:pt idx="686">
                  <c:v>0.12188459310074817</c:v>
                </c:pt>
                <c:pt idx="687">
                  <c:v>0.13096352654317944</c:v>
                </c:pt>
                <c:pt idx="688">
                  <c:v>0.12317414935909787</c:v>
                </c:pt>
                <c:pt idx="689">
                  <c:v>0.08336536380273363</c:v>
                </c:pt>
                <c:pt idx="690">
                  <c:v>0.08244767107842232</c:v>
                </c:pt>
                <c:pt idx="691">
                  <c:v>0.08244767107842232</c:v>
                </c:pt>
                <c:pt idx="692">
                  <c:v>0.08244767107842232</c:v>
                </c:pt>
                <c:pt idx="693">
                  <c:v>0.09008407684590436</c:v>
                </c:pt>
                <c:pt idx="694">
                  <c:v>0.10706791196482213</c:v>
                </c:pt>
                <c:pt idx="695">
                  <c:v>0.08860829218954103</c:v>
                </c:pt>
                <c:pt idx="696">
                  <c:v>0.09834164912635801</c:v>
                </c:pt>
                <c:pt idx="697">
                  <c:v>0.09773942227557564</c:v>
                </c:pt>
                <c:pt idx="698">
                  <c:v>0.09773942227557564</c:v>
                </c:pt>
                <c:pt idx="699">
                  <c:v>0.09773942227557564</c:v>
                </c:pt>
                <c:pt idx="700">
                  <c:v>0.09949697794573331</c:v>
                </c:pt>
                <c:pt idx="701">
                  <c:v>0.11284893828119258</c:v>
                </c:pt>
                <c:pt idx="702">
                  <c:v>0.07500411583663058</c:v>
                </c:pt>
                <c:pt idx="703">
                  <c:v>0.059003099866462794</c:v>
                </c:pt>
                <c:pt idx="704">
                  <c:v>0.055376905379258545</c:v>
                </c:pt>
                <c:pt idx="705">
                  <c:v>0.055376905379258545</c:v>
                </c:pt>
                <c:pt idx="706">
                  <c:v>0.055376905379258545</c:v>
                </c:pt>
                <c:pt idx="707">
                  <c:v>0.07061505656676337</c:v>
                </c:pt>
                <c:pt idx="708">
                  <c:v>0.06329745403547427</c:v>
                </c:pt>
                <c:pt idx="709">
                  <c:v>0.061816359807573606</c:v>
                </c:pt>
                <c:pt idx="710">
                  <c:v>0.060884806793739976</c:v>
                </c:pt>
                <c:pt idx="711">
                  <c:v>0.056858416424434566</c:v>
                </c:pt>
                <c:pt idx="712">
                  <c:v>0.056858416424434566</c:v>
                </c:pt>
                <c:pt idx="713">
                  <c:v>0.056858416424434566</c:v>
                </c:pt>
                <c:pt idx="714">
                  <c:v>0.057801806914050236</c:v>
                </c:pt>
                <c:pt idx="715">
                  <c:v>0.06488120950482079</c:v>
                </c:pt>
                <c:pt idx="716">
                  <c:v>0.07511887639621895</c:v>
                </c:pt>
                <c:pt idx="717">
                  <c:v>0.0677305389002032</c:v>
                </c:pt>
                <c:pt idx="718">
                  <c:v>0.07589453502396992</c:v>
                </c:pt>
                <c:pt idx="719">
                  <c:v>0.07589453502396992</c:v>
                </c:pt>
                <c:pt idx="720">
                  <c:v>0.07589453502396992</c:v>
                </c:pt>
                <c:pt idx="721">
                  <c:v>0.0949291015246847</c:v>
                </c:pt>
                <c:pt idx="722">
                  <c:v>0.11925315243024626</c:v>
                </c:pt>
                <c:pt idx="723">
                  <c:v>0.1334175475785635</c:v>
                </c:pt>
                <c:pt idx="724">
                  <c:v>0.1276096184890485</c:v>
                </c:pt>
                <c:pt idx="725">
                  <c:v>0.1379482493247537</c:v>
                </c:pt>
                <c:pt idx="726">
                  <c:v>0.1379482493247537</c:v>
                </c:pt>
                <c:pt idx="727">
                  <c:v>0.1379482493247537</c:v>
                </c:pt>
                <c:pt idx="728">
                  <c:v>0.14797889931976638</c:v>
                </c:pt>
                <c:pt idx="729">
                  <c:v>0.14152997861434646</c:v>
                </c:pt>
                <c:pt idx="730">
                  <c:v>0.1407604401665148</c:v>
                </c:pt>
                <c:pt idx="731">
                  <c:v>0.13009217864054312</c:v>
                </c:pt>
                <c:pt idx="732">
                  <c:v>0.13490929984529632</c:v>
                </c:pt>
                <c:pt idx="733">
                  <c:v>0.13490929984529632</c:v>
                </c:pt>
                <c:pt idx="734">
                  <c:v>0.13490929984529632</c:v>
                </c:pt>
                <c:pt idx="735">
                  <c:v>0.14768925112831943</c:v>
                </c:pt>
                <c:pt idx="736">
                  <c:v>0.14572321538798216</c:v>
                </c:pt>
                <c:pt idx="737">
                  <c:v>0.1536696494356089</c:v>
                </c:pt>
                <c:pt idx="738">
                  <c:v>0.16726024291765595</c:v>
                </c:pt>
                <c:pt idx="739">
                  <c:v>0.12445613261588728</c:v>
                </c:pt>
                <c:pt idx="740">
                  <c:v>0.12445613261588728</c:v>
                </c:pt>
                <c:pt idx="741">
                  <c:v>0.12445613261588728</c:v>
                </c:pt>
                <c:pt idx="742">
                  <c:v>0.11903205998901334</c:v>
                </c:pt>
                <c:pt idx="743">
                  <c:v>0.12424639184302477</c:v>
                </c:pt>
                <c:pt idx="744">
                  <c:v>0.1184085959770198</c:v>
                </c:pt>
                <c:pt idx="745">
                  <c:v>0.11270788093646633</c:v>
                </c:pt>
                <c:pt idx="746">
                  <c:v>0.11649170252720986</c:v>
                </c:pt>
                <c:pt idx="747">
                  <c:v>0.11649170252720986</c:v>
                </c:pt>
                <c:pt idx="748">
                  <c:v>0.11649170252720986</c:v>
                </c:pt>
                <c:pt idx="749">
                  <c:v>0.11039744590141964</c:v>
                </c:pt>
                <c:pt idx="750">
                  <c:v>0.10634625661049779</c:v>
                </c:pt>
                <c:pt idx="751">
                  <c:v>0.10480331351558347</c:v>
                </c:pt>
                <c:pt idx="752">
                  <c:v>0.1020730054601624</c:v>
                </c:pt>
                <c:pt idx="753">
                  <c:v>0.11055634843578943</c:v>
                </c:pt>
                <c:pt idx="754">
                  <c:v>0.11055634843578943</c:v>
                </c:pt>
                <c:pt idx="755">
                  <c:v>0.11055634843578943</c:v>
                </c:pt>
                <c:pt idx="756">
                  <c:v>0.11339079100815841</c:v>
                </c:pt>
                <c:pt idx="757">
                  <c:v>0.09744416080827434</c:v>
                </c:pt>
                <c:pt idx="758">
                  <c:v>0.11082821694802103</c:v>
                </c:pt>
                <c:pt idx="759">
                  <c:v>0.11051284301163933</c:v>
                </c:pt>
                <c:pt idx="760">
                  <c:v>0.13073138082572466</c:v>
                </c:pt>
                <c:pt idx="761">
                  <c:v>0.13073138082572466</c:v>
                </c:pt>
                <c:pt idx="762">
                  <c:v>0.13073138082572466</c:v>
                </c:pt>
                <c:pt idx="763">
                  <c:v>0.13157378215784687</c:v>
                </c:pt>
                <c:pt idx="764">
                  <c:v>0.15802730995858205</c:v>
                </c:pt>
                <c:pt idx="765">
                  <c:v>0.16554079358183715</c:v>
                </c:pt>
                <c:pt idx="766">
                  <c:v>0.16754871574441976</c:v>
                </c:pt>
                <c:pt idx="767">
                  <c:v>0.14892609077205377</c:v>
                </c:pt>
                <c:pt idx="768">
                  <c:v>0.14892609077205377</c:v>
                </c:pt>
                <c:pt idx="769">
                  <c:v>0.14892609077205377</c:v>
                </c:pt>
                <c:pt idx="770">
                  <c:v>0.14897709956505922</c:v>
                </c:pt>
                <c:pt idx="771">
                  <c:v>0.14549653397797235</c:v>
                </c:pt>
                <c:pt idx="772">
                  <c:v>0.12852974685254548</c:v>
                </c:pt>
                <c:pt idx="773">
                  <c:v>0.1287549580815588</c:v>
                </c:pt>
                <c:pt idx="774">
                  <c:v>0.10874835672042882</c:v>
                </c:pt>
                <c:pt idx="775">
                  <c:v>0.10874835672042882</c:v>
                </c:pt>
                <c:pt idx="776">
                  <c:v>0.10874835672042882</c:v>
                </c:pt>
                <c:pt idx="777">
                  <c:v>0.11370302330259863</c:v>
                </c:pt>
                <c:pt idx="778">
                  <c:v>0.1255216726031474</c:v>
                </c:pt>
                <c:pt idx="779">
                  <c:v>0.1056343346701425</c:v>
                </c:pt>
                <c:pt idx="780">
                  <c:v>0.10210718534822738</c:v>
                </c:pt>
                <c:pt idx="781">
                  <c:v>0.1040670171932141</c:v>
                </c:pt>
                <c:pt idx="782">
                  <c:v>0.1040670171932141</c:v>
                </c:pt>
                <c:pt idx="783">
                  <c:v>0.1040670171932141</c:v>
                </c:pt>
                <c:pt idx="784">
                  <c:v>0.10205540321469808</c:v>
                </c:pt>
                <c:pt idx="785">
                  <c:v>0.1034625869520025</c:v>
                </c:pt>
                <c:pt idx="786">
                  <c:v>0.11365177245823976</c:v>
                </c:pt>
                <c:pt idx="787">
                  <c:v>0.1369151013636647</c:v>
                </c:pt>
                <c:pt idx="788">
                  <c:v>0.15050018399097365</c:v>
                </c:pt>
                <c:pt idx="789">
                  <c:v>0.15050018399097365</c:v>
                </c:pt>
                <c:pt idx="790">
                  <c:v>0.15050018399097365</c:v>
                </c:pt>
                <c:pt idx="791">
                  <c:v>0.15275701227969685</c:v>
                </c:pt>
                <c:pt idx="792">
                  <c:v>0.1611704192128045</c:v>
                </c:pt>
                <c:pt idx="793">
                  <c:v>0.18017617351751714</c:v>
                </c:pt>
                <c:pt idx="794">
                  <c:v>0.1875967786677455</c:v>
                </c:pt>
                <c:pt idx="795">
                  <c:v>0.20927332256135345</c:v>
                </c:pt>
                <c:pt idx="796">
                  <c:v>0.20927332256135345</c:v>
                </c:pt>
                <c:pt idx="797">
                  <c:v>0.20927332256135345</c:v>
                </c:pt>
                <c:pt idx="798">
                  <c:v>0.20899191361156877</c:v>
                </c:pt>
                <c:pt idx="799">
                  <c:v>0.23924042482929986</c:v>
                </c:pt>
                <c:pt idx="800">
                  <c:v>0.24663375299788215</c:v>
                </c:pt>
                <c:pt idx="801">
                  <c:v>0.25114033894059595</c:v>
                </c:pt>
                <c:pt idx="802">
                  <c:v>0.2632313022082482</c:v>
                </c:pt>
                <c:pt idx="803">
                  <c:v>0.2632313022082482</c:v>
                </c:pt>
                <c:pt idx="804">
                  <c:v>0.2632313022082482</c:v>
                </c:pt>
                <c:pt idx="805">
                  <c:v>0.27439155875145405</c:v>
                </c:pt>
                <c:pt idx="806">
                  <c:v>0.2709261900804132</c:v>
                </c:pt>
                <c:pt idx="807">
                  <c:v>0.2706682547492565</c:v>
                </c:pt>
                <c:pt idx="808">
                  <c:v>0.27441539946097704</c:v>
                </c:pt>
                <c:pt idx="809">
                  <c:v>0.27511261179452107</c:v>
                </c:pt>
                <c:pt idx="810">
                  <c:v>0.27511261179452107</c:v>
                </c:pt>
                <c:pt idx="811">
                  <c:v>0.27511261179452107</c:v>
                </c:pt>
                <c:pt idx="812">
                  <c:v>0.27754099685296274</c:v>
                </c:pt>
                <c:pt idx="813">
                  <c:v>0.2868034615504049</c:v>
                </c:pt>
                <c:pt idx="814">
                  <c:v>0.28988313414270817</c:v>
                </c:pt>
                <c:pt idx="815">
                  <c:v>0.2939466090460754</c:v>
                </c:pt>
                <c:pt idx="816">
                  <c:v>0.294960383250104</c:v>
                </c:pt>
                <c:pt idx="817">
                  <c:v>0.294960383250104</c:v>
                </c:pt>
                <c:pt idx="818">
                  <c:v>0.294960383250104</c:v>
                </c:pt>
                <c:pt idx="819">
                  <c:v>0.2811233813282292</c:v>
                </c:pt>
                <c:pt idx="820">
                  <c:v>0.28331939333098033</c:v>
                </c:pt>
                <c:pt idx="821">
                  <c:v>0.28716413755235015</c:v>
                </c:pt>
                <c:pt idx="822">
                  <c:v>0.30366222763882966</c:v>
                </c:pt>
                <c:pt idx="823">
                  <c:v>0.32355439173466793</c:v>
                </c:pt>
                <c:pt idx="824">
                  <c:v>0.32355439173466793</c:v>
                </c:pt>
                <c:pt idx="825">
                  <c:v>0.32355439173466793</c:v>
                </c:pt>
                <c:pt idx="826">
                  <c:v>0.31018855147585556</c:v>
                </c:pt>
                <c:pt idx="827">
                  <c:v>0.33020195094028715</c:v>
                </c:pt>
                <c:pt idx="828">
                  <c:v>0.3485295934145336</c:v>
                </c:pt>
                <c:pt idx="829">
                  <c:v>0.362785489700282</c:v>
                </c:pt>
                <c:pt idx="830">
                  <c:v>0.37289625612860466</c:v>
                </c:pt>
                <c:pt idx="831">
                  <c:v>0.37289625612860466</c:v>
                </c:pt>
                <c:pt idx="832">
                  <c:v>0.37289625612860466</c:v>
                </c:pt>
                <c:pt idx="833">
                  <c:v>0.40435356677037104</c:v>
                </c:pt>
                <c:pt idx="834">
                  <c:v>0.41367158913112023</c:v>
                </c:pt>
                <c:pt idx="835">
                  <c:v>0.40795115817713956</c:v>
                </c:pt>
                <c:pt idx="836">
                  <c:v>0.4314469381285786</c:v>
                </c:pt>
                <c:pt idx="837">
                  <c:v>0.4295547872803225</c:v>
                </c:pt>
                <c:pt idx="838">
                  <c:v>0.4295547872803225</c:v>
                </c:pt>
                <c:pt idx="839">
                  <c:v>0.4295547872803225</c:v>
                </c:pt>
                <c:pt idx="840">
                  <c:v>0.435776527374103</c:v>
                </c:pt>
                <c:pt idx="841">
                  <c:v>0.44006826853855463</c:v>
                </c:pt>
                <c:pt idx="842">
                  <c:v>0.45065317842899444</c:v>
                </c:pt>
                <c:pt idx="843">
                  <c:v>0.4600995472298548</c:v>
                </c:pt>
                <c:pt idx="844">
                  <c:v>0.4696970664177418</c:v>
                </c:pt>
                <c:pt idx="845">
                  <c:v>0.4696970664177418</c:v>
                </c:pt>
                <c:pt idx="846">
                  <c:v>0.4696970664177418</c:v>
                </c:pt>
                <c:pt idx="847">
                  <c:v>0.4678069279068633</c:v>
                </c:pt>
                <c:pt idx="848">
                  <c:v>0.45032486464178345</c:v>
                </c:pt>
                <c:pt idx="849">
                  <c:v>0.4304150965975837</c:v>
                </c:pt>
                <c:pt idx="850">
                  <c:v>0.4327878039012443</c:v>
                </c:pt>
                <c:pt idx="851">
                  <c:v>0.43675602914121847</c:v>
                </c:pt>
                <c:pt idx="852">
                  <c:v>0.43675602914121847</c:v>
                </c:pt>
                <c:pt idx="853">
                  <c:v>0.43675602914121847</c:v>
                </c:pt>
                <c:pt idx="854">
                  <c:v>0.4549095925016464</c:v>
                </c:pt>
                <c:pt idx="855">
                  <c:v>0.4640335910009181</c:v>
                </c:pt>
                <c:pt idx="856">
                  <c:v>0.47166009397976594</c:v>
                </c:pt>
                <c:pt idx="857">
                  <c:v>0.47215728495529286</c:v>
                </c:pt>
                <c:pt idx="858">
                  <c:v>0.4760357809229303</c:v>
                </c:pt>
                <c:pt idx="859">
                  <c:v>0.4760357809229303</c:v>
                </c:pt>
                <c:pt idx="860">
                  <c:v>0.4760357809229303</c:v>
                </c:pt>
                <c:pt idx="861">
                  <c:v>0.4724064865640727</c:v>
                </c:pt>
                <c:pt idx="862">
                  <c:v>0.47597335063150314</c:v>
                </c:pt>
                <c:pt idx="863">
                  <c:v>0.472317431837874</c:v>
                </c:pt>
                <c:pt idx="864">
                  <c:v>0.48824423562368024</c:v>
                </c:pt>
                <c:pt idx="865">
                  <c:v>0.507961829580162</c:v>
                </c:pt>
                <c:pt idx="866">
                  <c:v>0.507961829580162</c:v>
                </c:pt>
                <c:pt idx="867">
                  <c:v>0.507961829580162</c:v>
                </c:pt>
                <c:pt idx="868">
                  <c:v>0.5134131311318355</c:v>
                </c:pt>
                <c:pt idx="869">
                  <c:v>0.5312300994067332</c:v>
                </c:pt>
                <c:pt idx="870">
                  <c:v>0.546897982610919</c:v>
                </c:pt>
                <c:pt idx="871">
                  <c:v>0.5600127532468664</c:v>
                </c:pt>
                <c:pt idx="872">
                  <c:v>0.565269845681657</c:v>
                </c:pt>
                <c:pt idx="873">
                  <c:v>0.565269845681657</c:v>
                </c:pt>
                <c:pt idx="874">
                  <c:v>0.565269845681657</c:v>
                </c:pt>
                <c:pt idx="875">
                  <c:v>0.5827178371321509</c:v>
                </c:pt>
                <c:pt idx="876">
                  <c:v>0.5875027818176732</c:v>
                </c:pt>
                <c:pt idx="877">
                  <c:v>0.5703529855061347</c:v>
                </c:pt>
                <c:pt idx="878">
                  <c:v>0.5837735204086121</c:v>
                </c:pt>
                <c:pt idx="879">
                  <c:v>0.6356589511664519</c:v>
                </c:pt>
                <c:pt idx="880">
                  <c:v>0.6356589511664519</c:v>
                </c:pt>
                <c:pt idx="881">
                  <c:v>0.6356589511664519</c:v>
                </c:pt>
                <c:pt idx="882">
                  <c:v>0.6448070635182575</c:v>
                </c:pt>
                <c:pt idx="883">
                  <c:v>0.633028413276399</c:v>
                </c:pt>
                <c:pt idx="884">
                  <c:v>0.6537192113415993</c:v>
                </c:pt>
                <c:pt idx="885">
                  <c:v>0.6471088813221408</c:v>
                </c:pt>
                <c:pt idx="886">
                  <c:v>0.6580614675051057</c:v>
                </c:pt>
                <c:pt idx="887">
                  <c:v>0.6580614675051057</c:v>
                </c:pt>
                <c:pt idx="888">
                  <c:v>0.6580614675051057</c:v>
                </c:pt>
                <c:pt idx="889">
                  <c:v>0.6568501360392387</c:v>
                </c:pt>
                <c:pt idx="890">
                  <c:v>0.6313598863823822</c:v>
                </c:pt>
                <c:pt idx="891">
                  <c:v>0.6432213209559423</c:v>
                </c:pt>
                <c:pt idx="892">
                  <c:v>0.648965866678576</c:v>
                </c:pt>
                <c:pt idx="893">
                  <c:v>0.6196849060851828</c:v>
                </c:pt>
                <c:pt idx="894">
                  <c:v>0.6196849060851828</c:v>
                </c:pt>
                <c:pt idx="895">
                  <c:v>0.6196849060851828</c:v>
                </c:pt>
                <c:pt idx="896">
                  <c:v>0.5193714485237284</c:v>
                </c:pt>
                <c:pt idx="897">
                  <c:v>0.3886995281933161</c:v>
                </c:pt>
                <c:pt idx="898">
                  <c:v>0.38089244837217784</c:v>
                </c:pt>
                <c:pt idx="899">
                  <c:v>0.4361569270599406</c:v>
                </c:pt>
                <c:pt idx="900">
                  <c:v>0.434958992280559</c:v>
                </c:pt>
                <c:pt idx="901">
                  <c:v>0.434958992280559</c:v>
                </c:pt>
                <c:pt idx="902">
                  <c:v>0.434958992280559</c:v>
                </c:pt>
                <c:pt idx="903">
                  <c:v>0.4483322651591368</c:v>
                </c:pt>
                <c:pt idx="904">
                  <c:v>0.4533401775310659</c:v>
                </c:pt>
                <c:pt idx="905">
                  <c:v>0.46220768846225035</c:v>
                </c:pt>
                <c:pt idx="906">
                  <c:v>0.47164034520010856</c:v>
                </c:pt>
                <c:pt idx="907">
                  <c:v>0.5193143612449118</c:v>
                </c:pt>
                <c:pt idx="908">
                  <c:v>0.5193143612449118</c:v>
                </c:pt>
                <c:pt idx="909">
                  <c:v>0.5193143612449118</c:v>
                </c:pt>
                <c:pt idx="910">
                  <c:v>0.5213166006802761</c:v>
                </c:pt>
                <c:pt idx="911">
                  <c:v>0.5050115288370152</c:v>
                </c:pt>
                <c:pt idx="912">
                  <c:v>0.5402069276389434</c:v>
                </c:pt>
                <c:pt idx="913">
                  <c:v>0.5707992228099488</c:v>
                </c:pt>
                <c:pt idx="914">
                  <c:v>0.5638660572543233</c:v>
                </c:pt>
                <c:pt idx="915">
                  <c:v>0.5638660572543233</c:v>
                </c:pt>
                <c:pt idx="916">
                  <c:v>0.5638660572543233</c:v>
                </c:pt>
                <c:pt idx="917">
                  <c:v>0.5557510776980439</c:v>
                </c:pt>
                <c:pt idx="918">
                  <c:v>0.6076178249188124</c:v>
                </c:pt>
                <c:pt idx="919">
                  <c:v>0.6160497762705395</c:v>
                </c:pt>
                <c:pt idx="920">
                  <c:v>0.6034028470614683</c:v>
                </c:pt>
                <c:pt idx="921">
                  <c:v>0.6083898659463778</c:v>
                </c:pt>
                <c:pt idx="922">
                  <c:v>0.6083898659463778</c:v>
                </c:pt>
                <c:pt idx="923">
                  <c:v>0.6083898659463778</c:v>
                </c:pt>
                <c:pt idx="924">
                  <c:v>0.6327156438160941</c:v>
                </c:pt>
                <c:pt idx="925">
                  <c:v>0.6733078735849802</c:v>
                </c:pt>
                <c:pt idx="926">
                  <c:v>0.705794470722255</c:v>
                </c:pt>
                <c:pt idx="927">
                  <c:v>0.7276209589110687</c:v>
                </c:pt>
                <c:pt idx="928">
                  <c:v>0.7479273357243788</c:v>
                </c:pt>
                <c:pt idx="929">
                  <c:v>0.7479273357243788</c:v>
                </c:pt>
                <c:pt idx="930">
                  <c:v>0.7479273357243788</c:v>
                </c:pt>
                <c:pt idx="931">
                  <c:v>0.7484932693125554</c:v>
                </c:pt>
                <c:pt idx="932">
                  <c:v>0.7775993937345278</c:v>
                </c:pt>
                <c:pt idx="933">
                  <c:v>0.6832191172871203</c:v>
                </c:pt>
                <c:pt idx="934">
                  <c:v>0.6706662271402986</c:v>
                </c:pt>
                <c:pt idx="935">
                  <c:v>0.6417728067660504</c:v>
                </c:pt>
                <c:pt idx="936">
                  <c:v>0.6417728067660504</c:v>
                </c:pt>
                <c:pt idx="937">
                  <c:v>0.6417728067660504</c:v>
                </c:pt>
                <c:pt idx="938">
                  <c:v>0.6545822603269089</c:v>
                </c:pt>
                <c:pt idx="939">
                  <c:v>0.651766287855621</c:v>
                </c:pt>
                <c:pt idx="940">
                  <c:v>0.6436812232069749</c:v>
                </c:pt>
                <c:pt idx="941">
                  <c:v>0.6234238223731481</c:v>
                </c:pt>
                <c:pt idx="942">
                  <c:v>0.6392891651244696</c:v>
                </c:pt>
                <c:pt idx="943">
                  <c:v>0.6392891651244696</c:v>
                </c:pt>
                <c:pt idx="944">
                  <c:v>0.6392891651244696</c:v>
                </c:pt>
                <c:pt idx="945">
                  <c:v>0.6374144496273684</c:v>
                </c:pt>
                <c:pt idx="946">
                  <c:v>0.6293791685229722</c:v>
                </c:pt>
                <c:pt idx="947">
                  <c:v>0.644599370361413</c:v>
                </c:pt>
                <c:pt idx="948">
                  <c:v>0.6656320212472273</c:v>
                </c:pt>
                <c:pt idx="949">
                  <c:v>0.6424110077645295</c:v>
                </c:pt>
                <c:pt idx="950">
                  <c:v>0.6424110077645295</c:v>
                </c:pt>
                <c:pt idx="951">
                  <c:v>0.6424110077645295</c:v>
                </c:pt>
                <c:pt idx="952">
                  <c:v>0.611709938351261</c:v>
                </c:pt>
                <c:pt idx="953">
                  <c:v>0.6134293910613455</c:v>
                </c:pt>
                <c:pt idx="954">
                  <c:v>0.5957940225710672</c:v>
                </c:pt>
                <c:pt idx="955">
                  <c:v>0.6037403024459835</c:v>
                </c:pt>
                <c:pt idx="956">
                  <c:v>0.5911758636074811</c:v>
                </c:pt>
                <c:pt idx="957">
                  <c:v>0.5911758636074811</c:v>
                </c:pt>
                <c:pt idx="958">
                  <c:v>0.5911758636074811</c:v>
                </c:pt>
                <c:pt idx="959">
                  <c:v>0.6179818498640224</c:v>
                </c:pt>
                <c:pt idx="960">
                  <c:v>0.6590794248831069</c:v>
                </c:pt>
                <c:pt idx="961">
                  <c:v>0.6496223378976631</c:v>
                </c:pt>
                <c:pt idx="962">
                  <c:v>0.6571868082261687</c:v>
                </c:pt>
                <c:pt idx="963">
                  <c:v>0.7038264884803744</c:v>
                </c:pt>
                <c:pt idx="964">
                  <c:v>0.7038264884803744</c:v>
                </c:pt>
                <c:pt idx="965">
                  <c:v>0.7038264884803744</c:v>
                </c:pt>
                <c:pt idx="966">
                  <c:v>0.719935803193533</c:v>
                </c:pt>
                <c:pt idx="967">
                  <c:v>0.70314535155459</c:v>
                </c:pt>
                <c:pt idx="968">
                  <c:v>0.6998582842156638</c:v>
                </c:pt>
                <c:pt idx="969">
                  <c:v>0.7207234841986383</c:v>
                </c:pt>
                <c:pt idx="970">
                  <c:v>0.7605499114603662</c:v>
                </c:pt>
                <c:pt idx="971">
                  <c:v>0.7605499114603662</c:v>
                </c:pt>
                <c:pt idx="972">
                  <c:v>0.7605499114603662</c:v>
                </c:pt>
                <c:pt idx="973">
                  <c:v>0.7854507341697756</c:v>
                </c:pt>
                <c:pt idx="974">
                  <c:v>0.7977103593183552</c:v>
                </c:pt>
                <c:pt idx="975">
                  <c:v>0.795953618900624</c:v>
                </c:pt>
                <c:pt idx="976">
                  <c:v>0.8146467564702147</c:v>
                </c:pt>
                <c:pt idx="977">
                  <c:v>0.8245940564175698</c:v>
                </c:pt>
                <c:pt idx="978">
                  <c:v>0.8245940564175698</c:v>
                </c:pt>
                <c:pt idx="979">
                  <c:v>0.8245940564175698</c:v>
                </c:pt>
                <c:pt idx="980">
                  <c:v>0.8315723604980576</c:v>
                </c:pt>
                <c:pt idx="981">
                  <c:v>0.7366672608639178</c:v>
                </c:pt>
                <c:pt idx="982">
                  <c:v>0.712109152400241</c:v>
                </c:pt>
                <c:pt idx="983">
                  <c:v>0.7450513570329245</c:v>
                </c:pt>
                <c:pt idx="984">
                  <c:v>0.7173341473989436</c:v>
                </c:pt>
                <c:pt idx="985">
                  <c:v>0.7173341473989436</c:v>
                </c:pt>
                <c:pt idx="986">
                  <c:v>0.7173341473989436</c:v>
                </c:pt>
                <c:pt idx="987">
                  <c:v>0.7328199678976699</c:v>
                </c:pt>
                <c:pt idx="988">
                  <c:v>0.7623149391562309</c:v>
                </c:pt>
                <c:pt idx="989">
                  <c:v>0.760335415868866</c:v>
                </c:pt>
                <c:pt idx="990">
                  <c:v>0.7900647384037025</c:v>
                </c:pt>
                <c:pt idx="991">
                  <c:v>0.8409305895588208</c:v>
                </c:pt>
                <c:pt idx="992">
                  <c:v>0.8409305895588208</c:v>
                </c:pt>
                <c:pt idx="993">
                  <c:v>0.8409305895588208</c:v>
                </c:pt>
                <c:pt idx="994">
                  <c:v>0.8614904834137085</c:v>
                </c:pt>
                <c:pt idx="995">
                  <c:v>0.891822965208283</c:v>
                </c:pt>
                <c:pt idx="996">
                  <c:v>0.8848054445212636</c:v>
                </c:pt>
                <c:pt idx="997">
                  <c:v>0.8797315372015495</c:v>
                </c:pt>
                <c:pt idx="998">
                  <c:v>0.8728358770500906</c:v>
                </c:pt>
                <c:pt idx="999">
                  <c:v>0.8728358770500906</c:v>
                </c:pt>
                <c:pt idx="1000">
                  <c:v>0.8728358770500906</c:v>
                </c:pt>
                <c:pt idx="1001">
                  <c:v>0.8016154410520495</c:v>
                </c:pt>
                <c:pt idx="1002">
                  <c:v>0.8177887912916932</c:v>
                </c:pt>
                <c:pt idx="1003">
                  <c:v>0.8656639225628784</c:v>
                </c:pt>
                <c:pt idx="1004">
                  <c:v>0.8727970900354456</c:v>
                </c:pt>
                <c:pt idx="1005">
                  <c:v>0.8624353041435351</c:v>
                </c:pt>
                <c:pt idx="1006">
                  <c:v>0.8624353041435351</c:v>
                </c:pt>
                <c:pt idx="1007">
                  <c:v>0.8624353041435351</c:v>
                </c:pt>
                <c:pt idx="1008">
                  <c:v>0.8906060302485006</c:v>
                </c:pt>
                <c:pt idx="1009">
                  <c:v>0.8772733599379612</c:v>
                </c:pt>
                <c:pt idx="1010">
                  <c:v>0.8944183323161472</c:v>
                </c:pt>
                <c:pt idx="1011">
                  <c:v>0.9121347960413075</c:v>
                </c:pt>
                <c:pt idx="1012">
                  <c:v>0.9049440679589213</c:v>
                </c:pt>
                <c:pt idx="1013">
                  <c:v>0.9049440679589213</c:v>
                </c:pt>
                <c:pt idx="1014">
                  <c:v>0.9049440679589213</c:v>
                </c:pt>
                <c:pt idx="1015">
                  <c:v>0.8963608424515521</c:v>
                </c:pt>
                <c:pt idx="1016">
                  <c:v>0.8866351560858245</c:v>
                </c:pt>
                <c:pt idx="1017">
                  <c:v>0.8925561702561295</c:v>
                </c:pt>
                <c:pt idx="1018">
                  <c:v>0.8513407131011204</c:v>
                </c:pt>
                <c:pt idx="1019">
                  <c:v>0.8221601322431669</c:v>
                </c:pt>
                <c:pt idx="1020">
                  <c:v>0.8221601322431669</c:v>
                </c:pt>
                <c:pt idx="1021">
                  <c:v>0.8221601322431669</c:v>
                </c:pt>
                <c:pt idx="1022">
                  <c:v>0.7941962823454476</c:v>
                </c:pt>
                <c:pt idx="1023">
                  <c:v>0.8212717923166171</c:v>
                </c:pt>
                <c:pt idx="1024">
                  <c:v>0.8494127204835336</c:v>
                </c:pt>
                <c:pt idx="1025">
                  <c:v>0.8457601548813425</c:v>
                </c:pt>
                <c:pt idx="1026">
                  <c:v>0.8226010862741644</c:v>
                </c:pt>
                <c:pt idx="1027">
                  <c:v>0.8226010862741644</c:v>
                </c:pt>
                <c:pt idx="1028">
                  <c:v>0.8226010862741644</c:v>
                </c:pt>
                <c:pt idx="1029">
                  <c:v>0.7106500129755637</c:v>
                </c:pt>
                <c:pt idx="1030">
                  <c:v>0.7118727851394708</c:v>
                </c:pt>
                <c:pt idx="1031">
                  <c:v>0.7479794748980617</c:v>
                </c:pt>
                <c:pt idx="1032">
                  <c:v>0.7582788857664018</c:v>
                </c:pt>
                <c:pt idx="1033">
                  <c:v>0.7704993138591074</c:v>
                </c:pt>
                <c:pt idx="1034">
                  <c:v>0.7704993138591074</c:v>
                </c:pt>
                <c:pt idx="1035">
                  <c:v>0.7704993138591074</c:v>
                </c:pt>
                <c:pt idx="1036">
                  <c:v>0.7804720980341981</c:v>
                </c:pt>
                <c:pt idx="1037">
                  <c:v>0.7881362037249835</c:v>
                </c:pt>
                <c:pt idx="1038">
                  <c:v>0.8194412410296141</c:v>
                </c:pt>
                <c:pt idx="1039">
                  <c:v>0.8313373187743449</c:v>
                </c:pt>
                <c:pt idx="1040">
                  <c:v>0.8437816746135098</c:v>
                </c:pt>
                <c:pt idx="1041">
                  <c:v>0.8437816746135098</c:v>
                </c:pt>
                <c:pt idx="1042">
                  <c:v>0.8437816746135098</c:v>
                </c:pt>
                <c:pt idx="1043">
                  <c:v>0.8486411753997454</c:v>
                </c:pt>
                <c:pt idx="1044">
                  <c:v>0.8521543902484985</c:v>
                </c:pt>
                <c:pt idx="1045">
                  <c:v>0.8141061158965792</c:v>
                </c:pt>
                <c:pt idx="1046">
                  <c:v>0.8218558808325538</c:v>
                </c:pt>
                <c:pt idx="1047">
                  <c:v>0.8331107830095008</c:v>
                </c:pt>
                <c:pt idx="1048">
                  <c:v>0.8331107830095008</c:v>
                </c:pt>
                <c:pt idx="1049">
                  <c:v>0.8331107830095008</c:v>
                </c:pt>
                <c:pt idx="1050">
                  <c:v>0.8016187854270593</c:v>
                </c:pt>
                <c:pt idx="1051">
                  <c:v>0.8220919451295317</c:v>
                </c:pt>
                <c:pt idx="1052">
                  <c:v>0.7627283572502144</c:v>
                </c:pt>
                <c:pt idx="1053">
                  <c:v>0.7523436128492409</c:v>
                </c:pt>
                <c:pt idx="1054">
                  <c:v>0.7747812507775491</c:v>
                </c:pt>
                <c:pt idx="1055">
                  <c:v>0.7747812507775491</c:v>
                </c:pt>
                <c:pt idx="1056">
                  <c:v>0.7747812507775491</c:v>
                </c:pt>
                <c:pt idx="1057">
                  <c:v>0.7718870810193452</c:v>
                </c:pt>
                <c:pt idx="1058">
                  <c:v>0.7438185165525706</c:v>
                </c:pt>
                <c:pt idx="1059">
                  <c:v>0.8290633711079256</c:v>
                </c:pt>
                <c:pt idx="1060">
                  <c:v>0.768257797109702</c:v>
                </c:pt>
                <c:pt idx="1061">
                  <c:v>0.7131965039939596</c:v>
                </c:pt>
                <c:pt idx="1062">
                  <c:v>0.7131965039939596</c:v>
                </c:pt>
                <c:pt idx="1063">
                  <c:v>0.7131965039939596</c:v>
                </c:pt>
                <c:pt idx="1064">
                  <c:v>0.6504839534153053</c:v>
                </c:pt>
                <c:pt idx="1065">
                  <c:v>0.6954109015611423</c:v>
                </c:pt>
                <c:pt idx="1066">
                  <c:v>0.6852972916667694</c:v>
                </c:pt>
                <c:pt idx="1067">
                  <c:v>0.7324771397211034</c:v>
                </c:pt>
                <c:pt idx="1068">
                  <c:v>0.7526128999970656</c:v>
                </c:pt>
                <c:pt idx="1069">
                  <c:v>0.7526128999970656</c:v>
                </c:pt>
                <c:pt idx="1070">
                  <c:v>0.7526128999970656</c:v>
                </c:pt>
                <c:pt idx="1071">
                  <c:v>0.7591284866435075</c:v>
                </c:pt>
                <c:pt idx="1072">
                  <c:v>0.8043345105426043</c:v>
                </c:pt>
                <c:pt idx="1073">
                  <c:v>0.8031422643766777</c:v>
                </c:pt>
                <c:pt idx="1074">
                  <c:v>0.8438395727761441</c:v>
                </c:pt>
                <c:pt idx="1075">
                  <c:v>0.8581013385079872</c:v>
                </c:pt>
                <c:pt idx="1076">
                  <c:v>0.8581013385079872</c:v>
                </c:pt>
                <c:pt idx="1077">
                  <c:v>0.8581013385079872</c:v>
                </c:pt>
                <c:pt idx="1078">
                  <c:v>0.8687036926883955</c:v>
                </c:pt>
                <c:pt idx="1079">
                  <c:v>0.8232096701329958</c:v>
                </c:pt>
                <c:pt idx="1080">
                  <c:v>0.8382235911946714</c:v>
                </c:pt>
                <c:pt idx="1081">
                  <c:v>0.832001807208474</c:v>
                </c:pt>
                <c:pt idx="1082">
                  <c:v>0.8667691415031347</c:v>
                </c:pt>
                <c:pt idx="1083">
                  <c:v>0.8667691415031347</c:v>
                </c:pt>
                <c:pt idx="1084">
                  <c:v>0.8667691415031347</c:v>
                </c:pt>
                <c:pt idx="1085">
                  <c:v>0.8528843696984982</c:v>
                </c:pt>
                <c:pt idx="1086">
                  <c:v>0.8763635487967958</c:v>
                </c:pt>
                <c:pt idx="1087">
                  <c:v>0.8512258391201559</c:v>
                </c:pt>
                <c:pt idx="1088">
                  <c:v>0.8139588926376535</c:v>
                </c:pt>
                <c:pt idx="1089">
                  <c:v>0.8390426629110859</c:v>
                </c:pt>
                <c:pt idx="1090">
                  <c:v>0.8390426629110859</c:v>
                </c:pt>
                <c:pt idx="1091">
                  <c:v>0.8390426629110859</c:v>
                </c:pt>
                <c:pt idx="1092">
                  <c:v>0.8378364081120409</c:v>
                </c:pt>
                <c:pt idx="1093">
                  <c:v>0.7774787708223707</c:v>
                </c:pt>
                <c:pt idx="1094">
                  <c:v>0.7656259301505084</c:v>
                </c:pt>
                <c:pt idx="1095">
                  <c:v>0.7741282587702067</c:v>
                </c:pt>
                <c:pt idx="1096">
                  <c:v>0.7361218721292591</c:v>
                </c:pt>
                <c:pt idx="1097">
                  <c:v>0.7361218721292591</c:v>
                </c:pt>
                <c:pt idx="1098">
                  <c:v>0.7361218721292591</c:v>
                </c:pt>
                <c:pt idx="1099">
                  <c:v>0.7638265158288546</c:v>
                </c:pt>
                <c:pt idx="1100">
                  <c:v>0.7619524453348225</c:v>
                </c:pt>
                <c:pt idx="1101">
                  <c:v>0.8178008467784963</c:v>
                </c:pt>
                <c:pt idx="1102">
                  <c:v>0.8394674846385948</c:v>
                </c:pt>
                <c:pt idx="1103">
                  <c:v>0.8378907958936139</c:v>
                </c:pt>
                <c:pt idx="1104">
                  <c:v>0.8378907958936139</c:v>
                </c:pt>
                <c:pt idx="1105">
                  <c:v>0.8378907958936139</c:v>
                </c:pt>
                <c:pt idx="1106">
                  <c:v>0.8374285278729179</c:v>
                </c:pt>
                <c:pt idx="1107">
                  <c:v>0.8499642715054165</c:v>
                </c:pt>
                <c:pt idx="1108">
                  <c:v>0.8440018051027312</c:v>
                </c:pt>
                <c:pt idx="1109">
                  <c:v>0.8916821629132128</c:v>
                </c:pt>
                <c:pt idx="1110">
                  <c:v>0.849840282907055</c:v>
                </c:pt>
                <c:pt idx="1111">
                  <c:v>0.849840282907055</c:v>
                </c:pt>
                <c:pt idx="1112">
                  <c:v>0.849840282907055</c:v>
                </c:pt>
                <c:pt idx="1113">
                  <c:v>0.8832107847733093</c:v>
                </c:pt>
                <c:pt idx="1114">
                  <c:v>0.9159211593094918</c:v>
                </c:pt>
                <c:pt idx="1115">
                  <c:v>0.9205432751745857</c:v>
                </c:pt>
                <c:pt idx="1116">
                  <c:v>0.9569443913037277</c:v>
                </c:pt>
                <c:pt idx="1117">
                  <c:v>0.9310661061768415</c:v>
                </c:pt>
                <c:pt idx="1118">
                  <c:v>0.9310661061768415</c:v>
                </c:pt>
                <c:pt idx="1119">
                  <c:v>0.9310661061768415</c:v>
                </c:pt>
                <c:pt idx="1120">
                  <c:v>0.9380823398883957</c:v>
                </c:pt>
                <c:pt idx="1121">
                  <c:v>0.9083702536525575</c:v>
                </c:pt>
                <c:pt idx="1122">
                  <c:v>0.9072415813639749</c:v>
                </c:pt>
                <c:pt idx="1123">
                  <c:v>0.9047995758555516</c:v>
                </c:pt>
                <c:pt idx="1124">
                  <c:v>0.9499892735766973</c:v>
                </c:pt>
                <c:pt idx="1125">
                  <c:v>0.9499892735766973</c:v>
                </c:pt>
                <c:pt idx="1126">
                  <c:v>0.9499892735766973</c:v>
                </c:pt>
                <c:pt idx="1127">
                  <c:v>0.9597147152277592</c:v>
                </c:pt>
                <c:pt idx="1128">
                  <c:v>0.9658944113376702</c:v>
                </c:pt>
                <c:pt idx="1129">
                  <c:v>0.973975583101566</c:v>
                </c:pt>
                <c:pt idx="1130">
                  <c:v>0.9744835339622973</c:v>
                </c:pt>
                <c:pt idx="1131">
                  <c:v>1.0055341888681846</c:v>
                </c:pt>
                <c:pt idx="1132">
                  <c:v>1.0055341888681846</c:v>
                </c:pt>
                <c:pt idx="1133">
                  <c:v>1.0055341888681846</c:v>
                </c:pt>
                <c:pt idx="1134">
                  <c:v>1.004948171076275</c:v>
                </c:pt>
                <c:pt idx="1135">
                  <c:v>0.9649474270805882</c:v>
                </c:pt>
                <c:pt idx="1136">
                  <c:v>0.9786380557605174</c:v>
                </c:pt>
                <c:pt idx="1137">
                  <c:v>1.0020155404515734</c:v>
                </c:pt>
                <c:pt idx="1138">
                  <c:v>1.020733898104817</c:v>
                </c:pt>
                <c:pt idx="1139">
                  <c:v>1.020733898104817</c:v>
                </c:pt>
                <c:pt idx="1140">
                  <c:v>1.020733898104817</c:v>
                </c:pt>
                <c:pt idx="1141">
                  <c:v>1.0161938287351684</c:v>
                </c:pt>
                <c:pt idx="1142">
                  <c:v>1.0317758792541367</c:v>
                </c:pt>
                <c:pt idx="1143">
                  <c:v>1.0010795409904758</c:v>
                </c:pt>
                <c:pt idx="1144">
                  <c:v>0.999558505419706</c:v>
                </c:pt>
                <c:pt idx="1145">
                  <c:v>1.0187757063001035</c:v>
                </c:pt>
                <c:pt idx="1146">
                  <c:v>1.0187757063001035</c:v>
                </c:pt>
                <c:pt idx="1147">
                  <c:v>1.0187757063001035</c:v>
                </c:pt>
                <c:pt idx="1148">
                  <c:v>1.0125305788162562</c:v>
                </c:pt>
                <c:pt idx="1149">
                  <c:v>1.0359612216778706</c:v>
                </c:pt>
                <c:pt idx="1150">
                  <c:v>1.023916431471016</c:v>
                </c:pt>
                <c:pt idx="1151">
                  <c:v>0.9684966895161771</c:v>
                </c:pt>
                <c:pt idx="1152">
                  <c:v>1.0036026314060895</c:v>
                </c:pt>
                <c:pt idx="1153">
                  <c:v>1.0036026314060895</c:v>
                </c:pt>
                <c:pt idx="1154">
                  <c:v>1.0036026314060895</c:v>
                </c:pt>
                <c:pt idx="1155">
                  <c:v>1.0074326856052327</c:v>
                </c:pt>
                <c:pt idx="1156">
                  <c:v>1.035516996084898</c:v>
                </c:pt>
                <c:pt idx="1157">
                  <c:v>1.0700956353938076</c:v>
                </c:pt>
                <c:pt idx="1158">
                  <c:v>1.1062042555900238</c:v>
                </c:pt>
                <c:pt idx="1159">
                  <c:v>1.102231175277287</c:v>
                </c:pt>
                <c:pt idx="1160">
                  <c:v>1.102231175277287</c:v>
                </c:pt>
                <c:pt idx="1161">
                  <c:v>1.102231175277287</c:v>
                </c:pt>
                <c:pt idx="1162">
                  <c:v>1.129913879637778</c:v>
                </c:pt>
                <c:pt idx="1163">
                  <c:v>1.1012216806374906</c:v>
                </c:pt>
                <c:pt idx="1164">
                  <c:v>1.0978632609585843</c:v>
                </c:pt>
                <c:pt idx="1165">
                  <c:v>1.1033742672370455</c:v>
                </c:pt>
                <c:pt idx="1166">
                  <c:v>1.0770949371568062</c:v>
                </c:pt>
                <c:pt idx="1167">
                  <c:v>1.0770949371568062</c:v>
                </c:pt>
                <c:pt idx="1168">
                  <c:v>1.0770949371568062</c:v>
                </c:pt>
                <c:pt idx="1169">
                  <c:v>1.1008463976673006</c:v>
                </c:pt>
                <c:pt idx="1170">
                  <c:v>1.1108514103374154</c:v>
                </c:pt>
                <c:pt idx="1171">
                  <c:v>1.126875116583859</c:v>
                </c:pt>
                <c:pt idx="1172">
                  <c:v>1.1264102051649125</c:v>
                </c:pt>
                <c:pt idx="1173">
                  <c:v>1.1218633978603427</c:v>
                </c:pt>
                <c:pt idx="1174">
                  <c:v>1.1218633978603427</c:v>
                </c:pt>
                <c:pt idx="1175">
                  <c:v>1.1218633978603427</c:v>
                </c:pt>
                <c:pt idx="1176">
                  <c:v>1.1253850566656678</c:v>
                </c:pt>
                <c:pt idx="1177">
                  <c:v>1.120047520960124</c:v>
                </c:pt>
                <c:pt idx="1178">
                  <c:v>1.1080021634741333</c:v>
                </c:pt>
                <c:pt idx="1179">
                  <c:v>1.0976968375958283</c:v>
                </c:pt>
                <c:pt idx="1180">
                  <c:v>1.0861976449641926</c:v>
                </c:pt>
                <c:pt idx="1181">
                  <c:v>1.0861976449641926</c:v>
                </c:pt>
                <c:pt idx="1182">
                  <c:v>1.0861976449641926</c:v>
                </c:pt>
                <c:pt idx="1183">
                  <c:v>1.1004529502284774</c:v>
                </c:pt>
                <c:pt idx="1184">
                  <c:v>1.1205381461969655</c:v>
                </c:pt>
                <c:pt idx="1185">
                  <c:v>1.1420670972263802</c:v>
                </c:pt>
                <c:pt idx="1186">
                  <c:v>1.14240937971431</c:v>
                </c:pt>
                <c:pt idx="1187">
                  <c:v>1.1567308685589688</c:v>
                </c:pt>
                <c:pt idx="1188">
                  <c:v>1.1567308685589688</c:v>
                </c:pt>
                <c:pt idx="1189">
                  <c:v>1.1567308685589688</c:v>
                </c:pt>
                <c:pt idx="1190">
                  <c:v>1.1605065435232178</c:v>
                </c:pt>
                <c:pt idx="1191">
                  <c:v>1.1474834697498442</c:v>
                </c:pt>
                <c:pt idx="1192">
                  <c:v>1.1831775194777516</c:v>
                </c:pt>
                <c:pt idx="1193">
                  <c:v>1.171664086806247</c:v>
                </c:pt>
                <c:pt idx="1194">
                  <c:v>1.1690433297011693</c:v>
                </c:pt>
                <c:pt idx="1195">
                  <c:v>1.1690433297011693</c:v>
                </c:pt>
                <c:pt idx="1196">
                  <c:v>1.1690433297011693</c:v>
                </c:pt>
                <c:pt idx="1197">
                  <c:v>1.1704473266080893</c:v>
                </c:pt>
                <c:pt idx="1198">
                  <c:v>1.164957636440493</c:v>
                </c:pt>
                <c:pt idx="1199">
                  <c:v>1.1204451961478639</c:v>
                </c:pt>
                <c:pt idx="1200">
                  <c:v>1.1133813567343758</c:v>
                </c:pt>
                <c:pt idx="1201">
                  <c:v>1.108447372946729</c:v>
                </c:pt>
                <c:pt idx="1202">
                  <c:v>1.108447372946729</c:v>
                </c:pt>
                <c:pt idx="1203">
                  <c:v>1.108447372946729</c:v>
                </c:pt>
                <c:pt idx="1204">
                  <c:v>1.1210368940989053</c:v>
                </c:pt>
                <c:pt idx="1205">
                  <c:v>1.1472709300521675</c:v>
                </c:pt>
                <c:pt idx="1206">
                  <c:v>1.143779774182617</c:v>
                </c:pt>
                <c:pt idx="1207">
                  <c:v>1.138591759054552</c:v>
                </c:pt>
                <c:pt idx="1208">
                  <c:v>1.123985149835459</c:v>
                </c:pt>
                <c:pt idx="1209">
                  <c:v>1.123985149835459</c:v>
                </c:pt>
                <c:pt idx="1210">
                  <c:v>1.123985149835459</c:v>
                </c:pt>
                <c:pt idx="1211">
                  <c:v>1.1145665375588916</c:v>
                </c:pt>
                <c:pt idx="1212">
                  <c:v>1.1079339694608237</c:v>
                </c:pt>
                <c:pt idx="1213">
                  <c:v>1.1079339694608237</c:v>
                </c:pt>
                <c:pt idx="1214">
                  <c:v>1.117716080732332</c:v>
                </c:pt>
                <c:pt idx="1215">
                  <c:v>1.1413945600225932</c:v>
                </c:pt>
                <c:pt idx="1216">
                  <c:v>1.1413945600225932</c:v>
                </c:pt>
                <c:pt idx="1217">
                  <c:v>1.1413945600225932</c:v>
                </c:pt>
                <c:pt idx="1218">
                  <c:v>1.166210062786634</c:v>
                </c:pt>
                <c:pt idx="1219">
                  <c:v>1.13005330124026</c:v>
                </c:pt>
                <c:pt idx="1220">
                  <c:v>1.1313232917049514</c:v>
                </c:pt>
                <c:pt idx="1221">
                  <c:v>1.1264905032003916</c:v>
                </c:pt>
                <c:pt idx="1222">
                  <c:v>1.0838272053984683</c:v>
                </c:pt>
                <c:pt idx="1223">
                  <c:v>1.0838272053984683</c:v>
                </c:pt>
                <c:pt idx="1224">
                  <c:v>1.0838272053984683</c:v>
                </c:pt>
                <c:pt idx="1225">
                  <c:v>1.063908484905956</c:v>
                </c:pt>
                <c:pt idx="1226">
                  <c:v>1.0492533758380658</c:v>
                </c:pt>
                <c:pt idx="1227">
                  <c:v>1.1067387038797656</c:v>
                </c:pt>
                <c:pt idx="1228">
                  <c:v>1.1043557130166186</c:v>
                </c:pt>
                <c:pt idx="1229">
                  <c:v>1.1205063878570867</c:v>
                </c:pt>
                <c:pt idx="1230">
                  <c:v>1.1205063878570867</c:v>
                </c:pt>
                <c:pt idx="1231">
                  <c:v>1.1205063878570867</c:v>
                </c:pt>
                <c:pt idx="1232">
                  <c:v>1.1260842694126523</c:v>
                </c:pt>
                <c:pt idx="1233">
                  <c:v>1.1477576813741392</c:v>
                </c:pt>
                <c:pt idx="1234">
                  <c:v>1.1624442839806362</c:v>
                </c:pt>
                <c:pt idx="1235">
                  <c:v>1.180173241441977</c:v>
                </c:pt>
                <c:pt idx="1236">
                  <c:v>1.1842178728647306</c:v>
                </c:pt>
                <c:pt idx="1237">
                  <c:v>1.1842178728647306</c:v>
                </c:pt>
                <c:pt idx="1238">
                  <c:v>1.1842178728647306</c:v>
                </c:pt>
                <c:pt idx="1239">
                  <c:v>1.1189547891990759</c:v>
                </c:pt>
                <c:pt idx="1240">
                  <c:v>1.1606744888577238</c:v>
                </c:pt>
                <c:pt idx="1241">
                  <c:v>1.155336668759511</c:v>
                </c:pt>
                <c:pt idx="1242">
                  <c:v>1.1806592032354746</c:v>
                </c:pt>
                <c:pt idx="1243">
                  <c:v>1.1671220251666359</c:v>
                </c:pt>
                <c:pt idx="1244">
                  <c:v>1.1671220251666359</c:v>
                </c:pt>
                <c:pt idx="1245">
                  <c:v>1.1671220251666359</c:v>
                </c:pt>
                <c:pt idx="1246">
                  <c:v>1.183989706068067</c:v>
                </c:pt>
                <c:pt idx="1247">
                  <c:v>1.1612983377968504</c:v>
                </c:pt>
                <c:pt idx="1248">
                  <c:v>1.2010604987565965</c:v>
                </c:pt>
                <c:pt idx="1249">
                  <c:v>1.2186799834511026</c:v>
                </c:pt>
                <c:pt idx="1250">
                  <c:v>1.2172373362234024</c:v>
                </c:pt>
                <c:pt idx="1251">
                  <c:v>1.2172373362234024</c:v>
                </c:pt>
                <c:pt idx="1252">
                  <c:v>1.2172373362234024</c:v>
                </c:pt>
                <c:pt idx="1253">
                  <c:v>1.2290894560295529</c:v>
                </c:pt>
                <c:pt idx="1254">
                  <c:v>1.2106959420419656</c:v>
                </c:pt>
                <c:pt idx="1255">
                  <c:v>1.2099280931562513</c:v>
                </c:pt>
                <c:pt idx="1256">
                  <c:v>1.2303195944733978</c:v>
                </c:pt>
                <c:pt idx="1257">
                  <c:v>1.2420820252386493</c:v>
                </c:pt>
                <c:pt idx="1258">
                  <c:v>1.2420820252386493</c:v>
                </c:pt>
                <c:pt idx="1259">
                  <c:v>1.2420820252386493</c:v>
                </c:pt>
                <c:pt idx="1260">
                  <c:v>1.251764884087307</c:v>
                </c:pt>
                <c:pt idx="1261">
                  <c:v>1.2582524117533875</c:v>
                </c:pt>
                <c:pt idx="1262">
                  <c:v>1.228861397220483</c:v>
                </c:pt>
                <c:pt idx="1263">
                  <c:v>1.2407491795774965</c:v>
                </c:pt>
                <c:pt idx="1264">
                  <c:v>1.2286200723316654</c:v>
                </c:pt>
                <c:pt idx="1265">
                  <c:v>1.2286200723316654</c:v>
                </c:pt>
                <c:pt idx="1266">
                  <c:v>1.2286200723316654</c:v>
                </c:pt>
                <c:pt idx="1267">
                  <c:v>1.2081734152604353</c:v>
                </c:pt>
                <c:pt idx="1268">
                  <c:v>1.1882514945758222</c:v>
                </c:pt>
                <c:pt idx="1269">
                  <c:v>1.1969060609964695</c:v>
                </c:pt>
                <c:pt idx="1270">
                  <c:v>1.1716815987898097</c:v>
                </c:pt>
                <c:pt idx="1271">
                  <c:v>1.1856639148613546</c:v>
                </c:pt>
                <c:pt idx="1272">
                  <c:v>1.1856639148613546</c:v>
                </c:pt>
                <c:pt idx="1273">
                  <c:v>1.1856639148613546</c:v>
                </c:pt>
                <c:pt idx="1274">
                  <c:v>1.1697648619531904</c:v>
                </c:pt>
                <c:pt idx="1275">
                  <c:v>1.1567003396230402</c:v>
                </c:pt>
                <c:pt idx="1276">
                  <c:v>1.1889170964929554</c:v>
                </c:pt>
                <c:pt idx="1277">
                  <c:v>1.171720277592402</c:v>
                </c:pt>
                <c:pt idx="1278">
                  <c:v>1.1962703890354551</c:v>
                </c:pt>
                <c:pt idx="1279">
                  <c:v>1.1962703890354551</c:v>
                </c:pt>
                <c:pt idx="1280">
                  <c:v>1.1962703890354551</c:v>
                </c:pt>
                <c:pt idx="1281">
                  <c:v>1.1151180875727174</c:v>
                </c:pt>
                <c:pt idx="1282">
                  <c:v>1.1077745016956917</c:v>
                </c:pt>
                <c:pt idx="1283">
                  <c:v>1.1099750455523898</c:v>
                </c:pt>
                <c:pt idx="1284">
                  <c:v>1.0846590907854745</c:v>
                </c:pt>
                <c:pt idx="1285">
                  <c:v>1.1241958936931522</c:v>
                </c:pt>
                <c:pt idx="1286">
                  <c:v>1.1241958936931522</c:v>
                </c:pt>
                <c:pt idx="1287">
                  <c:v>1.1241958936931522</c:v>
                </c:pt>
                <c:pt idx="1288">
                  <c:v>1.1387262063762287</c:v>
                </c:pt>
                <c:pt idx="1289">
                  <c:v>1.1348162525805372</c:v>
                </c:pt>
                <c:pt idx="1290">
                  <c:v>1.1573183470241628</c:v>
                </c:pt>
                <c:pt idx="1291">
                  <c:v>1.1511106178736434</c:v>
                </c:pt>
                <c:pt idx="1292">
                  <c:v>1.1490782421808534</c:v>
                </c:pt>
                <c:pt idx="1293">
                  <c:v>1.1490782421808534</c:v>
                </c:pt>
                <c:pt idx="1294">
                  <c:v>1.1490782421808534</c:v>
                </c:pt>
                <c:pt idx="1295">
                  <c:v>1.1764202827544747</c:v>
                </c:pt>
                <c:pt idx="1296">
                  <c:v>1.1771707959892224</c:v>
                </c:pt>
                <c:pt idx="1297">
                  <c:v>1.1656247156701252</c:v>
                </c:pt>
                <c:pt idx="1298">
                  <c:v>1.1462681292025096</c:v>
                </c:pt>
                <c:pt idx="1299">
                  <c:v>1.1101091441404027</c:v>
                </c:pt>
                <c:pt idx="1300">
                  <c:v>1.1101091441404027</c:v>
                </c:pt>
                <c:pt idx="1301">
                  <c:v>1.1101091441404027</c:v>
                </c:pt>
                <c:pt idx="1302">
                  <c:v>1.0665119081725085</c:v>
                </c:pt>
                <c:pt idx="1303">
                  <c:v>1.0818086225237105</c:v>
                </c:pt>
                <c:pt idx="1304">
                  <c:v>1.0756143270067802</c:v>
                </c:pt>
                <c:pt idx="1305">
                  <c:v>0.9863254585223835</c:v>
                </c:pt>
                <c:pt idx="1306">
                  <c:v>0.8747689191219497</c:v>
                </c:pt>
                <c:pt idx="1307">
                  <c:v>0.8747689191219497</c:v>
                </c:pt>
                <c:pt idx="1308">
                  <c:v>0.8747689191219497</c:v>
                </c:pt>
                <c:pt idx="1309">
                  <c:v>0.8478874756759887</c:v>
                </c:pt>
                <c:pt idx="1310">
                  <c:v>0.839526628056263</c:v>
                </c:pt>
                <c:pt idx="1311">
                  <c:v>0.945920136116412</c:v>
                </c:pt>
                <c:pt idx="1312">
                  <c:v>0.9368436719124966</c:v>
                </c:pt>
                <c:pt idx="1313">
                  <c:v>0.9933734909626024</c:v>
                </c:pt>
                <c:pt idx="1314">
                  <c:v>0.9933734909626024</c:v>
                </c:pt>
                <c:pt idx="1315">
                  <c:v>0.9933734909626024</c:v>
                </c:pt>
                <c:pt idx="1316">
                  <c:v>1.0198864004430135</c:v>
                </c:pt>
                <c:pt idx="1317">
                  <c:v>1.0262330054212114</c:v>
                </c:pt>
                <c:pt idx="1318">
                  <c:v>1.0015162813079463</c:v>
                </c:pt>
                <c:pt idx="1319">
                  <c:v>1.0084840338102161</c:v>
                </c:pt>
                <c:pt idx="1320">
                  <c:v>1.0091456203613784</c:v>
                </c:pt>
                <c:pt idx="1321">
                  <c:v>1.0091456203613784</c:v>
                </c:pt>
                <c:pt idx="1322">
                  <c:v>1.0091456203613784</c:v>
                </c:pt>
                <c:pt idx="1323">
                  <c:v>0.9809097575183945</c:v>
                </c:pt>
                <c:pt idx="1324">
                  <c:v>1.0093636168526627</c:v>
                </c:pt>
                <c:pt idx="1325">
                  <c:v>1.0521135681599385</c:v>
                </c:pt>
                <c:pt idx="1326">
                  <c:v>1.0727940298932226</c:v>
                </c:pt>
                <c:pt idx="1327">
                  <c:v>1.0630728989336036</c:v>
                </c:pt>
                <c:pt idx="1328">
                  <c:v>1.0630728989336036</c:v>
                </c:pt>
                <c:pt idx="1329">
                  <c:v>1.0630728989336036</c:v>
                </c:pt>
                <c:pt idx="1330">
                  <c:v>1.045214199681515</c:v>
                </c:pt>
                <c:pt idx="1331">
                  <c:v>1.0623873302390288</c:v>
                </c:pt>
                <c:pt idx="1332">
                  <c:v>1.0715845997192788</c:v>
                </c:pt>
                <c:pt idx="1333">
                  <c:v>1.0721453278423754</c:v>
                </c:pt>
                <c:pt idx="1334">
                  <c:v>1.1112493195817241</c:v>
                </c:pt>
                <c:pt idx="1335">
                  <c:v>1.1112493195817241</c:v>
                </c:pt>
                <c:pt idx="1336">
                  <c:v>1.1112493195817241</c:v>
                </c:pt>
                <c:pt idx="1337">
                  <c:v>1.0937173589804914</c:v>
                </c:pt>
                <c:pt idx="1338">
                  <c:v>1.0651177566412655</c:v>
                </c:pt>
                <c:pt idx="1339">
                  <c:v>1.03019267691153</c:v>
                </c:pt>
                <c:pt idx="1340">
                  <c:v>1.0104771875338545</c:v>
                </c:pt>
                <c:pt idx="1341">
                  <c:v>0.9934229259099514</c:v>
                </c:pt>
                <c:pt idx="1342">
                  <c:v>0.9934229259099514</c:v>
                </c:pt>
                <c:pt idx="1343">
                  <c:v>0.9934229259099514</c:v>
                </c:pt>
                <c:pt idx="1344">
                  <c:v>1.0357088383534059</c:v>
                </c:pt>
                <c:pt idx="1345">
                  <c:v>1.0486818664685376</c:v>
                </c:pt>
                <c:pt idx="1346">
                  <c:v>1.0843975136578057</c:v>
                </c:pt>
                <c:pt idx="1347">
                  <c:v>1.1060301287996879</c:v>
                </c:pt>
                <c:pt idx="1348">
                  <c:v>1.1145411711404947</c:v>
                </c:pt>
                <c:pt idx="1349">
                  <c:v>1.1145411711404947</c:v>
                </c:pt>
                <c:pt idx="1350">
                  <c:v>1.1145411711404947</c:v>
                </c:pt>
                <c:pt idx="1351">
                  <c:v>1.133762226267288</c:v>
                </c:pt>
                <c:pt idx="1352">
                  <c:v>1.1426618805834239</c:v>
                </c:pt>
                <c:pt idx="1353">
                  <c:v>1.1320473331807177</c:v>
                </c:pt>
                <c:pt idx="1354">
                  <c:v>1.1394801293814525</c:v>
                </c:pt>
                <c:pt idx="1355">
                  <c:v>1.1410484752661536</c:v>
                </c:pt>
                <c:pt idx="1356">
                  <c:v>1.1410484752661536</c:v>
                </c:pt>
                <c:pt idx="1357">
                  <c:v>1.1410484752661536</c:v>
                </c:pt>
                <c:pt idx="1358">
                  <c:v>1.1525388239808292</c:v>
                </c:pt>
                <c:pt idx="1359">
                  <c:v>1.2054250211065631</c:v>
                </c:pt>
                <c:pt idx="1360">
                  <c:v>1.1305085089015314</c:v>
                </c:pt>
                <c:pt idx="1361">
                  <c:v>1.099870885331708</c:v>
                </c:pt>
                <c:pt idx="1362">
                  <c:v>1.1032582205194137</c:v>
                </c:pt>
                <c:pt idx="1363">
                  <c:v>1.1032582205194137</c:v>
                </c:pt>
                <c:pt idx="1364">
                  <c:v>1.1032582205194137</c:v>
                </c:pt>
                <c:pt idx="1365">
                  <c:v>1.1238965687097178</c:v>
                </c:pt>
                <c:pt idx="1366">
                  <c:v>1.1342907817377657</c:v>
                </c:pt>
                <c:pt idx="1367">
                  <c:v>1.161349684955142</c:v>
                </c:pt>
                <c:pt idx="1368">
                  <c:v>1.0660438837045145</c:v>
                </c:pt>
                <c:pt idx="1369">
                  <c:v>1.1061145990992802</c:v>
                </c:pt>
                <c:pt idx="1370">
                  <c:v>1.1061145990992802</c:v>
                </c:pt>
                <c:pt idx="1371">
                  <c:v>1.1061145990992802</c:v>
                </c:pt>
                <c:pt idx="1372">
                  <c:v>1.0007868158003328</c:v>
                </c:pt>
                <c:pt idx="1373">
                  <c:v>1.0230749366181047</c:v>
                </c:pt>
                <c:pt idx="1374">
                  <c:v>1.0354874734658615</c:v>
                </c:pt>
                <c:pt idx="1375">
                  <c:v>1.0184623094555407</c:v>
                </c:pt>
                <c:pt idx="1376">
                  <c:v>0.9692078390408077</c:v>
                </c:pt>
                <c:pt idx="1377">
                  <c:v>0.9692078390408077</c:v>
                </c:pt>
                <c:pt idx="1378">
                  <c:v>0.9692078390408077</c:v>
                </c:pt>
                <c:pt idx="1379">
                  <c:v>0.9451908555775015</c:v>
                </c:pt>
                <c:pt idx="1380">
                  <c:v>0.9381138458691383</c:v>
                </c:pt>
                <c:pt idx="1381">
                  <c:v>0.9424803710919858</c:v>
                </c:pt>
                <c:pt idx="1382">
                  <c:v>0.9110908075535695</c:v>
                </c:pt>
                <c:pt idx="1383">
                  <c:v>0.8609124287613028</c:v>
                </c:pt>
                <c:pt idx="1384">
                  <c:v>0.8609124287613028</c:v>
                </c:pt>
                <c:pt idx="1385">
                  <c:v>0.8609124287613028</c:v>
                </c:pt>
                <c:pt idx="1386">
                  <c:v>0.8487121434170586</c:v>
                </c:pt>
                <c:pt idx="1387">
                  <c:v>0.8834865868935557</c:v>
                </c:pt>
                <c:pt idx="1388">
                  <c:v>0.8932262634673245</c:v>
                </c:pt>
                <c:pt idx="1389">
                  <c:v>0.9172929028556076</c:v>
                </c:pt>
                <c:pt idx="1390">
                  <c:v>0.9388383339215769</c:v>
                </c:pt>
                <c:pt idx="1391">
                  <c:v>0.9388383339215769</c:v>
                </c:pt>
                <c:pt idx="1392">
                  <c:v>0.9388383339215769</c:v>
                </c:pt>
                <c:pt idx="1393">
                  <c:v>0.9568969449851321</c:v>
                </c:pt>
                <c:pt idx="1394">
                  <c:v>0.9774908080465452</c:v>
                </c:pt>
                <c:pt idx="1395">
                  <c:v>0.9950064800533396</c:v>
                </c:pt>
                <c:pt idx="1396">
                  <c:v>1.0198574698880698</c:v>
                </c:pt>
                <c:pt idx="1397">
                  <c:v>1.0341725871363585</c:v>
                </c:pt>
                <c:pt idx="1398">
                  <c:v>1.0341725871363585</c:v>
                </c:pt>
                <c:pt idx="1399">
                  <c:v>1.0341725871363585</c:v>
                </c:pt>
                <c:pt idx="1400">
                  <c:v>1.0200438520731847</c:v>
                </c:pt>
                <c:pt idx="1401">
                  <c:v>1.0149650336129477</c:v>
                </c:pt>
                <c:pt idx="1402">
                  <c:v>1.0184227192607658</c:v>
                </c:pt>
                <c:pt idx="1403">
                  <c:v>1.0261105322782202</c:v>
                </c:pt>
                <c:pt idx="1404">
                  <c:v>0.9350511882997485</c:v>
                </c:pt>
                <c:pt idx="1405">
                  <c:v>0.9350511882997485</c:v>
                </c:pt>
                <c:pt idx="1406">
                  <c:v>0.9350511882997485</c:v>
                </c:pt>
                <c:pt idx="1407">
                  <c:v>0.9105502399982186</c:v>
                </c:pt>
                <c:pt idx="1408">
                  <c:v>0.9139731026989988</c:v>
                </c:pt>
                <c:pt idx="1409">
                  <c:v>0.8889758982406373</c:v>
                </c:pt>
                <c:pt idx="1410">
                  <c:v>0.9022258845695785</c:v>
                </c:pt>
                <c:pt idx="1411">
                  <c:v>0.9500092259721675</c:v>
                </c:pt>
                <c:pt idx="1412">
                  <c:v>0.9500092259721675</c:v>
                </c:pt>
                <c:pt idx="1413">
                  <c:v>0.9500092259721675</c:v>
                </c:pt>
                <c:pt idx="1414">
                  <c:v>0.9278026741670384</c:v>
                </c:pt>
                <c:pt idx="1415">
                  <c:v>0.9337324665959685</c:v>
                </c:pt>
                <c:pt idx="1416">
                  <c:v>0.9672188217789879</c:v>
                </c:pt>
                <c:pt idx="1417">
                  <c:v>0.9773932631009146</c:v>
                </c:pt>
                <c:pt idx="1418">
                  <c:v>0.988748108024974</c:v>
                </c:pt>
                <c:pt idx="1419">
                  <c:v>0.988748108024974</c:v>
                </c:pt>
                <c:pt idx="1420">
                  <c:v>0.988748108024974</c:v>
                </c:pt>
                <c:pt idx="1421">
                  <c:v>0.974599506028095</c:v>
                </c:pt>
                <c:pt idx="1422">
                  <c:v>0.9780369283802834</c:v>
                </c:pt>
                <c:pt idx="1423">
                  <c:v>0.9291338916913066</c:v>
                </c:pt>
                <c:pt idx="1424">
                  <c:v>0.9233884468555673</c:v>
                </c:pt>
                <c:pt idx="1425">
                  <c:v>0.8904176641967274</c:v>
                </c:pt>
                <c:pt idx="1426">
                  <c:v>0.8904176641967274</c:v>
                </c:pt>
                <c:pt idx="1427">
                  <c:v>0.8904176641967274</c:v>
                </c:pt>
                <c:pt idx="1428">
                  <c:v>0.8757969525975244</c:v>
                </c:pt>
                <c:pt idx="1429">
                  <c:v>0.9030580680869968</c:v>
                </c:pt>
                <c:pt idx="1430">
                  <c:v>0.916896837018331</c:v>
                </c:pt>
                <c:pt idx="1431">
                  <c:v>0.9334560867566064</c:v>
                </c:pt>
                <c:pt idx="1432">
                  <c:v>0.9620011663589678</c:v>
                </c:pt>
                <c:pt idx="1433">
                  <c:v>0.9620011663589678</c:v>
                </c:pt>
                <c:pt idx="1434">
                  <c:v>0.9620011663589678</c:v>
                </c:pt>
                <c:pt idx="1435">
                  <c:v>0.9468944087558047</c:v>
                </c:pt>
                <c:pt idx="1436">
                  <c:v>0.9811145190571389</c:v>
                </c:pt>
                <c:pt idx="1437">
                  <c:v>0.9680088130754536</c:v>
                </c:pt>
                <c:pt idx="1438">
                  <c:v>0.9663897385343929</c:v>
                </c:pt>
                <c:pt idx="1439">
                  <c:v>0.9605734685254559</c:v>
                </c:pt>
                <c:pt idx="1440">
                  <c:v>0.9605734685254559</c:v>
                </c:pt>
                <c:pt idx="1441">
                  <c:v>0.9605734685254559</c:v>
                </c:pt>
                <c:pt idx="1442">
                  <c:v>0.9648359196026217</c:v>
                </c:pt>
                <c:pt idx="1443">
                  <c:v>0.9665043221783438</c:v>
                </c:pt>
                <c:pt idx="1444">
                  <c:v>0.9580858502076357</c:v>
                </c:pt>
                <c:pt idx="1445">
                  <c:v>0.956164474479754</c:v>
                </c:pt>
                <c:pt idx="1446">
                  <c:v>0.9743110024661061</c:v>
                </c:pt>
                <c:pt idx="1447">
                  <c:v>0.9743110024661061</c:v>
                </c:pt>
                <c:pt idx="1448">
                  <c:v>0.9743110024661061</c:v>
                </c:pt>
                <c:pt idx="1449">
                  <c:v>0.9381135278916781</c:v>
                </c:pt>
                <c:pt idx="1450">
                  <c:v>0.9779185044951664</c:v>
                </c:pt>
                <c:pt idx="1451">
                  <c:v>0.9848571725483182</c:v>
                </c:pt>
                <c:pt idx="1452">
                  <c:v>0.9916788804348056</c:v>
                </c:pt>
                <c:pt idx="1453">
                  <c:v>0.9934668840343817</c:v>
                </c:pt>
                <c:pt idx="1454">
                  <c:v>0.9934668840343817</c:v>
                </c:pt>
                <c:pt idx="1455">
                  <c:v>0.9934668840343817</c:v>
                </c:pt>
                <c:pt idx="1456">
                  <c:v>1.005951308777838</c:v>
                </c:pt>
                <c:pt idx="1457">
                  <c:v>0.9923353986632231</c:v>
                </c:pt>
                <c:pt idx="1458">
                  <c:v>1.0137627656800223</c:v>
                </c:pt>
                <c:pt idx="1459">
                  <c:v>1.034037925115609</c:v>
                </c:pt>
                <c:pt idx="1460">
                  <c:v>1.0378701759032944</c:v>
                </c:pt>
                <c:pt idx="1461">
                  <c:v>1.0378701759032944</c:v>
                </c:pt>
                <c:pt idx="1462">
                  <c:v>1.0378701759032944</c:v>
                </c:pt>
                <c:pt idx="1463">
                  <c:v>1.0443657402115676</c:v>
                </c:pt>
                <c:pt idx="1464">
                  <c:v>1.0627666037201777</c:v>
                </c:pt>
                <c:pt idx="1465">
                  <c:v>1.0622475986672546</c:v>
                </c:pt>
                <c:pt idx="1466">
                  <c:v>1.0999570029987407</c:v>
                </c:pt>
                <c:pt idx="1467">
                  <c:v>1.06790600464474</c:v>
                </c:pt>
                <c:pt idx="1468">
                  <c:v>1.06790600464474</c:v>
                </c:pt>
                <c:pt idx="1469">
                  <c:v>1.06790600464474</c:v>
                </c:pt>
                <c:pt idx="1470">
                  <c:v>1.067235713118281</c:v>
                </c:pt>
                <c:pt idx="1471">
                  <c:v>1.0633643371530588</c:v>
                </c:pt>
                <c:pt idx="1472">
                  <c:v>1.0393824510336755</c:v>
                </c:pt>
                <c:pt idx="1473">
                  <c:v>1.0543943166255336</c:v>
                </c:pt>
                <c:pt idx="1474">
                  <c:v>1.0709906435239356</c:v>
                </c:pt>
                <c:pt idx="1475">
                  <c:v>1.0709906435239356</c:v>
                </c:pt>
                <c:pt idx="1476">
                  <c:v>1.0709906435239356</c:v>
                </c:pt>
                <c:pt idx="1477">
                  <c:v>1.089228536158895</c:v>
                </c:pt>
                <c:pt idx="1478">
                  <c:v>1.0986488308988225</c:v>
                </c:pt>
                <c:pt idx="1479">
                  <c:v>1.0801341905560626</c:v>
                </c:pt>
                <c:pt idx="1480">
                  <c:v>1.0666646041507404</c:v>
                </c:pt>
                <c:pt idx="1481">
                  <c:v>1.0772430857304354</c:v>
                </c:pt>
                <c:pt idx="1482">
                  <c:v>1.0772430857304354</c:v>
                </c:pt>
                <c:pt idx="1483">
                  <c:v>1.0772430857304354</c:v>
                </c:pt>
                <c:pt idx="1484">
                  <c:v>1.0810680085986624</c:v>
                </c:pt>
                <c:pt idx="1485">
                  <c:v>1.1014914183822802</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41536787978158</c:v>
                </c:pt>
                <c:pt idx="2">
                  <c:v>-0.005559425096457904</c:v>
                </c:pt>
                <c:pt idx="3">
                  <c:v>-0.00483040654810718</c:v>
                </c:pt>
                <c:pt idx="4">
                  <c:v>-0.009688938303084704</c:v>
                </c:pt>
                <c:pt idx="5">
                  <c:v>-0.009688938303084704</c:v>
                </c:pt>
                <c:pt idx="6">
                  <c:v>-0.009688938303084704</c:v>
                </c:pt>
                <c:pt idx="7">
                  <c:v>-0.0036726248611613777</c:v>
                </c:pt>
                <c:pt idx="8">
                  <c:v>-0.0070734931364114795</c:v>
                </c:pt>
                <c:pt idx="9">
                  <c:v>0.0021343123933248442</c:v>
                </c:pt>
                <c:pt idx="10">
                  <c:v>0.0005100490500786758</c:v>
                </c:pt>
                <c:pt idx="11">
                  <c:v>-0.008279131746087742</c:v>
                </c:pt>
                <c:pt idx="12">
                  <c:v>-0.008279131746087742</c:v>
                </c:pt>
                <c:pt idx="13">
                  <c:v>-0.008279131746087742</c:v>
                </c:pt>
                <c:pt idx="14">
                  <c:v>-0.024395675051013366</c:v>
                </c:pt>
                <c:pt idx="15">
                  <c:v>-0.019537426933362245</c:v>
                </c:pt>
                <c:pt idx="16">
                  <c:v>-0.009189290854306753</c:v>
                </c:pt>
                <c:pt idx="17">
                  <c:v>0.004879873420853498</c:v>
                </c:pt>
                <c:pt idx="18">
                  <c:v>0.005207173506218243</c:v>
                </c:pt>
                <c:pt idx="19">
                  <c:v>0.005207173506218243</c:v>
                </c:pt>
                <c:pt idx="20">
                  <c:v>0.005207173506218243</c:v>
                </c:pt>
                <c:pt idx="21">
                  <c:v>0.006821694778068821</c:v>
                </c:pt>
                <c:pt idx="22">
                  <c:v>-0.008290779039588969</c:v>
                </c:pt>
                <c:pt idx="23">
                  <c:v>-0.00893875869771621</c:v>
                </c:pt>
                <c:pt idx="24">
                  <c:v>-0.013521798937409346</c:v>
                </c:pt>
                <c:pt idx="25">
                  <c:v>-0.00508845552862025</c:v>
                </c:pt>
                <c:pt idx="26">
                  <c:v>-0.00508845552862025</c:v>
                </c:pt>
                <c:pt idx="27">
                  <c:v>-0.00508845552862025</c:v>
                </c:pt>
                <c:pt idx="28">
                  <c:v>-0.016951937258319894</c:v>
                </c:pt>
                <c:pt idx="29">
                  <c:v>-0.0008542994179571162</c:v>
                </c:pt>
                <c:pt idx="30">
                  <c:v>0.007082295368917801</c:v>
                </c:pt>
                <c:pt idx="31">
                  <c:v>0.018904665344031457</c:v>
                </c:pt>
                <c:pt idx="32">
                  <c:v>0.020368341776015653</c:v>
                </c:pt>
                <c:pt idx="33">
                  <c:v>0.020368341776015653</c:v>
                </c:pt>
                <c:pt idx="34">
                  <c:v>0.020368341776015653</c:v>
                </c:pt>
                <c:pt idx="35">
                  <c:v>0.01820690182090945</c:v>
                </c:pt>
                <c:pt idx="36">
                  <c:v>0.013980180203799097</c:v>
                </c:pt>
                <c:pt idx="37">
                  <c:v>0.01606108424054975</c:v>
                </c:pt>
                <c:pt idx="38">
                  <c:v>0.02325988051956096</c:v>
                </c:pt>
                <c:pt idx="39">
                  <c:v>0.032849697632514774</c:v>
                </c:pt>
                <c:pt idx="40">
                  <c:v>0.032849697632514774</c:v>
                </c:pt>
                <c:pt idx="41">
                  <c:v>0.032849697632514774</c:v>
                </c:pt>
                <c:pt idx="42">
                  <c:v>0.05133577313752968</c:v>
                </c:pt>
                <c:pt idx="43">
                  <c:v>0.04516545956514384</c:v>
                </c:pt>
                <c:pt idx="44">
                  <c:v>0.05334116103489861</c:v>
                </c:pt>
                <c:pt idx="45">
                  <c:v>0.057149244994406656</c:v>
                </c:pt>
                <c:pt idx="46">
                  <c:v>0.05659112398350086</c:v>
                </c:pt>
                <c:pt idx="47">
                  <c:v>0.05659112398350086</c:v>
                </c:pt>
                <c:pt idx="48">
                  <c:v>0.05659112398350086</c:v>
                </c:pt>
                <c:pt idx="49">
                  <c:v>0.061087574702295866</c:v>
                </c:pt>
                <c:pt idx="50">
                  <c:v>0.062201377707355565</c:v>
                </c:pt>
                <c:pt idx="51">
                  <c:v>0.059061122332825455</c:v>
                </c:pt>
                <c:pt idx="52">
                  <c:v>0.07280293776778324</c:v>
                </c:pt>
                <c:pt idx="53">
                  <c:v>0.07149621238488502</c:v>
                </c:pt>
                <c:pt idx="54">
                  <c:v>0.07149621238488502</c:v>
                </c:pt>
                <c:pt idx="55">
                  <c:v>0.07149621238488502</c:v>
                </c:pt>
                <c:pt idx="56">
                  <c:v>0.07820165071328766</c:v>
                </c:pt>
                <c:pt idx="57">
                  <c:v>0.0807839099421821</c:v>
                </c:pt>
                <c:pt idx="58">
                  <c:v>0.08876963919308034</c:v>
                </c:pt>
                <c:pt idx="59">
                  <c:v>0.09169774379787254</c:v>
                </c:pt>
                <c:pt idx="60">
                  <c:v>0.09690604092810728</c:v>
                </c:pt>
                <c:pt idx="61">
                  <c:v>0.09690604092810728</c:v>
                </c:pt>
                <c:pt idx="62">
                  <c:v>0.09690604092810728</c:v>
                </c:pt>
                <c:pt idx="63">
                  <c:v>0.10320439650727398</c:v>
                </c:pt>
                <c:pt idx="64">
                  <c:v>0.09991601840248898</c:v>
                </c:pt>
                <c:pt idx="65">
                  <c:v>0.09167010986493063</c:v>
                </c:pt>
                <c:pt idx="66">
                  <c:v>0.09599619741721788</c:v>
                </c:pt>
                <c:pt idx="67">
                  <c:v>0.10290212972587165</c:v>
                </c:pt>
                <c:pt idx="68">
                  <c:v>0.10290212972587165</c:v>
                </c:pt>
                <c:pt idx="69">
                  <c:v>0.10290212972587165</c:v>
                </c:pt>
                <c:pt idx="70">
                  <c:v>0.10371763863726957</c:v>
                </c:pt>
                <c:pt idx="71">
                  <c:v>0.10686475147350638</c:v>
                </c:pt>
                <c:pt idx="72">
                  <c:v>0.10677555692256968</c:v>
                </c:pt>
                <c:pt idx="73">
                  <c:v>0.11046873655381595</c:v>
                </c:pt>
                <c:pt idx="74">
                  <c:v>0.10748006271014732</c:v>
                </c:pt>
                <c:pt idx="75">
                  <c:v>0.10748006271014732</c:v>
                </c:pt>
                <c:pt idx="76">
                  <c:v>0.10748006271014732</c:v>
                </c:pt>
                <c:pt idx="77">
                  <c:v>0.10078967907347658</c:v>
                </c:pt>
                <c:pt idx="78">
                  <c:v>0.0997523751763334</c:v>
                </c:pt>
                <c:pt idx="79">
                  <c:v>0.10279478400687014</c:v>
                </c:pt>
                <c:pt idx="80">
                  <c:v>0.1070788967973213</c:v>
                </c:pt>
                <c:pt idx="81">
                  <c:v>0.08177161309830105</c:v>
                </c:pt>
                <c:pt idx="82">
                  <c:v>0.08177161309830105</c:v>
                </c:pt>
                <c:pt idx="83">
                  <c:v>0.08177161309830105</c:v>
                </c:pt>
                <c:pt idx="84">
                  <c:v>0.09370949527977657</c:v>
                </c:pt>
                <c:pt idx="85">
                  <c:v>0.0794792404528688</c:v>
                </c:pt>
                <c:pt idx="86">
                  <c:v>0.06925500129633377</c:v>
                </c:pt>
                <c:pt idx="87">
                  <c:v>0.08490627089715486</c:v>
                </c:pt>
                <c:pt idx="88">
                  <c:v>0.07642037721100792</c:v>
                </c:pt>
                <c:pt idx="89">
                  <c:v>0.07642037721100792</c:v>
                </c:pt>
                <c:pt idx="90">
                  <c:v>0.07642037721100792</c:v>
                </c:pt>
                <c:pt idx="91">
                  <c:v>0.08684388511598673</c:v>
                </c:pt>
                <c:pt idx="92">
                  <c:v>0.0976894447316412</c:v>
                </c:pt>
                <c:pt idx="93">
                  <c:v>0.09023155542428318</c:v>
                </c:pt>
                <c:pt idx="94">
                  <c:v>0.07275045655170631</c:v>
                </c:pt>
                <c:pt idx="95">
                  <c:v>7.832023948428635e-05</c:v>
                </c:pt>
                <c:pt idx="96">
                  <c:v>7.832023948428635e-05</c:v>
                </c:pt>
                <c:pt idx="97">
                  <c:v>7.832023948428635e-05</c:v>
                </c:pt>
                <c:pt idx="98">
                  <c:v>-0.012735617374630581</c:v>
                </c:pt>
                <c:pt idx="99">
                  <c:v>-0.00776237346424602</c:v>
                </c:pt>
                <c:pt idx="100">
                  <c:v>0.011177053431638662</c:v>
                </c:pt>
                <c:pt idx="101">
                  <c:v>0.010537533433819357</c:v>
                </c:pt>
                <c:pt idx="102">
                  <c:v>0.0030783378684653417</c:v>
                </c:pt>
                <c:pt idx="103">
                  <c:v>0.0030783378684653417</c:v>
                </c:pt>
                <c:pt idx="104">
                  <c:v>0.0030783378684653417</c:v>
                </c:pt>
                <c:pt idx="105">
                  <c:v>0.0035941819694276234</c:v>
                </c:pt>
                <c:pt idx="106">
                  <c:v>0.015028740700281817</c:v>
                </c:pt>
                <c:pt idx="107">
                  <c:v>0.02443132014252436</c:v>
                </c:pt>
                <c:pt idx="108">
                  <c:v>0.03492193814695632</c:v>
                </c:pt>
                <c:pt idx="109">
                  <c:v>0.03639402652166157</c:v>
                </c:pt>
                <c:pt idx="110">
                  <c:v>0.03639402652166157</c:v>
                </c:pt>
                <c:pt idx="111">
                  <c:v>0.03639402652166157</c:v>
                </c:pt>
                <c:pt idx="112">
                  <c:v>0.045638077114886766</c:v>
                </c:pt>
                <c:pt idx="113">
                  <c:v>0.04859218827303802</c:v>
                </c:pt>
                <c:pt idx="114">
                  <c:v>0.05009066210574731</c:v>
                </c:pt>
                <c:pt idx="115">
                  <c:v>0.050918878023958225</c:v>
                </c:pt>
                <c:pt idx="116">
                  <c:v>0.05029085431274671</c:v>
                </c:pt>
                <c:pt idx="117">
                  <c:v>0.05029085431274671</c:v>
                </c:pt>
                <c:pt idx="118">
                  <c:v>0.05029085431274671</c:v>
                </c:pt>
                <c:pt idx="119">
                  <c:v>0.05600295913752751</c:v>
                </c:pt>
                <c:pt idx="120">
                  <c:v>0.05580062394625607</c:v>
                </c:pt>
                <c:pt idx="121">
                  <c:v>0.041356178026477064</c:v>
                </c:pt>
                <c:pt idx="122">
                  <c:v>0.04241333118993351</c:v>
                </c:pt>
                <c:pt idx="123">
                  <c:v>0.04256307718160168</c:v>
                </c:pt>
                <c:pt idx="124">
                  <c:v>0.04256307718160168</c:v>
                </c:pt>
                <c:pt idx="125">
                  <c:v>0.04256307718160168</c:v>
                </c:pt>
                <c:pt idx="126">
                  <c:v>0.039338234397663596</c:v>
                </c:pt>
                <c:pt idx="127">
                  <c:v>0.060419878952329364</c:v>
                </c:pt>
                <c:pt idx="128">
                  <c:v>0.06666478446237534</c:v>
                </c:pt>
                <c:pt idx="129">
                  <c:v>0.0563814086640233</c:v>
                </c:pt>
                <c:pt idx="130">
                  <c:v>0.06671523718118033</c:v>
                </c:pt>
                <c:pt idx="131">
                  <c:v>0.06671523718118033</c:v>
                </c:pt>
                <c:pt idx="132">
                  <c:v>0.06671523718118033</c:v>
                </c:pt>
                <c:pt idx="133">
                  <c:v>0.06598335353353324</c:v>
                </c:pt>
                <c:pt idx="134">
                  <c:v>0.0547627502599386</c:v>
                </c:pt>
                <c:pt idx="135">
                  <c:v>0.049276422613800275</c:v>
                </c:pt>
                <c:pt idx="136">
                  <c:v>0.04397810995494922</c:v>
                </c:pt>
                <c:pt idx="137">
                  <c:v>0.033780644453274</c:v>
                </c:pt>
                <c:pt idx="138">
                  <c:v>0.033780644453274</c:v>
                </c:pt>
                <c:pt idx="139">
                  <c:v>0.033780644453274</c:v>
                </c:pt>
                <c:pt idx="140">
                  <c:v>0.03513893531354273</c:v>
                </c:pt>
                <c:pt idx="141">
                  <c:v>0.028798607102321627</c:v>
                </c:pt>
                <c:pt idx="142">
                  <c:v>0.029483275556807076</c:v>
                </c:pt>
                <c:pt idx="143">
                  <c:v>0.026952007398276967</c:v>
                </c:pt>
                <c:pt idx="144">
                  <c:v>0.0534993911715933</c:v>
                </c:pt>
                <c:pt idx="145">
                  <c:v>0.0534993911715933</c:v>
                </c:pt>
                <c:pt idx="146">
                  <c:v>0.0534993911715933</c:v>
                </c:pt>
                <c:pt idx="147">
                  <c:v>0.08322487139459067</c:v>
                </c:pt>
                <c:pt idx="148">
                  <c:v>0.09794068230789477</c:v>
                </c:pt>
                <c:pt idx="149">
                  <c:v>0.10492195629483825</c:v>
                </c:pt>
                <c:pt idx="150">
                  <c:v>0.08816609500235706</c:v>
                </c:pt>
                <c:pt idx="151">
                  <c:v>0.0994692381562774</c:v>
                </c:pt>
                <c:pt idx="152">
                  <c:v>0.0994692381562774</c:v>
                </c:pt>
                <c:pt idx="153">
                  <c:v>0.0994692381562774</c:v>
                </c:pt>
                <c:pt idx="154">
                  <c:v>0.10235680432636785</c:v>
                </c:pt>
                <c:pt idx="155">
                  <c:v>0.11335949998267258</c:v>
                </c:pt>
                <c:pt idx="156">
                  <c:v>0.13821365533795493</c:v>
                </c:pt>
                <c:pt idx="157">
                  <c:v>0.12176208665920973</c:v>
                </c:pt>
                <c:pt idx="158">
                  <c:v>0.10989806917338041</c:v>
                </c:pt>
                <c:pt idx="159">
                  <c:v>0.10989806917338041</c:v>
                </c:pt>
                <c:pt idx="160">
                  <c:v>0.10989806917338041</c:v>
                </c:pt>
                <c:pt idx="161">
                  <c:v>0.11473457321266878</c:v>
                </c:pt>
                <c:pt idx="162">
                  <c:v>0.13140012035087167</c:v>
                </c:pt>
                <c:pt idx="163">
                  <c:v>0.1012856299594358</c:v>
                </c:pt>
                <c:pt idx="164">
                  <c:v>0.06109887502999234</c:v>
                </c:pt>
                <c:pt idx="165">
                  <c:v>0.027329130848024352</c:v>
                </c:pt>
                <c:pt idx="166">
                  <c:v>0.027329130848024352</c:v>
                </c:pt>
                <c:pt idx="167">
                  <c:v>0.027329130848024352</c:v>
                </c:pt>
                <c:pt idx="168">
                  <c:v>0.023558887758413416</c:v>
                </c:pt>
                <c:pt idx="169">
                  <c:v>0.0174275061645337</c:v>
                </c:pt>
                <c:pt idx="170">
                  <c:v>0.009194806161365587</c:v>
                </c:pt>
                <c:pt idx="171">
                  <c:v>0.014342101067183144</c:v>
                </c:pt>
                <c:pt idx="172">
                  <c:v>0.04038755564604957</c:v>
                </c:pt>
                <c:pt idx="173">
                  <c:v>0.04038755564604957</c:v>
                </c:pt>
                <c:pt idx="174">
                  <c:v>0.04038755564604957</c:v>
                </c:pt>
                <c:pt idx="175">
                  <c:v>0.026435637169171633</c:v>
                </c:pt>
                <c:pt idx="176">
                  <c:v>0.01807822509847723</c:v>
                </c:pt>
                <c:pt idx="177">
                  <c:v>0.03543649067787791</c:v>
                </c:pt>
                <c:pt idx="178">
                  <c:v>0.026683546675881242</c:v>
                </c:pt>
                <c:pt idx="179">
                  <c:v>0.020210884182737976</c:v>
                </c:pt>
                <c:pt idx="180">
                  <c:v>0.020210884182737976</c:v>
                </c:pt>
                <c:pt idx="181">
                  <c:v>0.020210884182737976</c:v>
                </c:pt>
                <c:pt idx="182">
                  <c:v>-0.006721385397984614</c:v>
                </c:pt>
                <c:pt idx="183">
                  <c:v>-0.009021595162300833</c:v>
                </c:pt>
                <c:pt idx="184">
                  <c:v>0.02017180743475011</c:v>
                </c:pt>
                <c:pt idx="185">
                  <c:v>0.01733033220302005</c:v>
                </c:pt>
                <c:pt idx="186">
                  <c:v>0.006863202922545275</c:v>
                </c:pt>
                <c:pt idx="187">
                  <c:v>0.006863202922545275</c:v>
                </c:pt>
                <c:pt idx="188">
                  <c:v>0.006863202922545275</c:v>
                </c:pt>
                <c:pt idx="189">
                  <c:v>0.0016792686511288846</c:v>
                </c:pt>
                <c:pt idx="190">
                  <c:v>0.018589247226408867</c:v>
                </c:pt>
                <c:pt idx="191">
                  <c:v>0.022504551652911875</c:v>
                </c:pt>
                <c:pt idx="192">
                  <c:v>0.0347564713826749</c:v>
                </c:pt>
                <c:pt idx="193">
                  <c:v>0.04722261660124549</c:v>
                </c:pt>
                <c:pt idx="194">
                  <c:v>0.04722261660124549</c:v>
                </c:pt>
                <c:pt idx="195">
                  <c:v>0.04722261660124549</c:v>
                </c:pt>
                <c:pt idx="196">
                  <c:v>0.04068525109327359</c:v>
                </c:pt>
                <c:pt idx="197">
                  <c:v>0.05258263158144727</c:v>
                </c:pt>
                <c:pt idx="198">
                  <c:v>0.03654341088530222</c:v>
                </c:pt>
                <c:pt idx="199">
                  <c:v>0.056880341373792165</c:v>
                </c:pt>
                <c:pt idx="200">
                  <c:v>0.06147535709198215</c:v>
                </c:pt>
                <c:pt idx="201">
                  <c:v>0.06147535709198215</c:v>
                </c:pt>
                <c:pt idx="202">
                  <c:v>0.06147535709198215</c:v>
                </c:pt>
                <c:pt idx="203">
                  <c:v>0.06956907595631057</c:v>
                </c:pt>
                <c:pt idx="204">
                  <c:v>0.08778157738041159</c:v>
                </c:pt>
                <c:pt idx="205">
                  <c:v>0.08737951319443926</c:v>
                </c:pt>
                <c:pt idx="206">
                  <c:v>0.0689860805077025</c:v>
                </c:pt>
                <c:pt idx="207">
                  <c:v>0.07948158251202297</c:v>
                </c:pt>
                <c:pt idx="208">
                  <c:v>0.07948158251202297</c:v>
                </c:pt>
                <c:pt idx="209">
                  <c:v>0.07948158251202297</c:v>
                </c:pt>
                <c:pt idx="210">
                  <c:v>0.08529295393695557</c:v>
                </c:pt>
                <c:pt idx="211">
                  <c:v>0.046615000337524526</c:v>
                </c:pt>
                <c:pt idx="212">
                  <c:v>0.03467894953215711</c:v>
                </c:pt>
                <c:pt idx="213">
                  <c:v>0.0363070576517186</c:v>
                </c:pt>
                <c:pt idx="214">
                  <c:v>0.03456450999904037</c:v>
                </c:pt>
                <c:pt idx="215">
                  <c:v>0.03456450999904037</c:v>
                </c:pt>
                <c:pt idx="216">
                  <c:v>0.03456450999904037</c:v>
                </c:pt>
                <c:pt idx="217">
                  <c:v>0.01884165303659957</c:v>
                </c:pt>
                <c:pt idx="218">
                  <c:v>0.01227235242594249</c:v>
                </c:pt>
                <c:pt idx="219">
                  <c:v>0.019236249163176122</c:v>
                </c:pt>
                <c:pt idx="220">
                  <c:v>0.007325334694400221</c:v>
                </c:pt>
                <c:pt idx="221">
                  <c:v>0.007287040997158822</c:v>
                </c:pt>
                <c:pt idx="222">
                  <c:v>0.007287040997158822</c:v>
                </c:pt>
                <c:pt idx="223">
                  <c:v>0.007287040997158822</c:v>
                </c:pt>
                <c:pt idx="224">
                  <c:v>0.014218463859840824</c:v>
                </c:pt>
                <c:pt idx="225">
                  <c:v>0.02586668890187549</c:v>
                </c:pt>
                <c:pt idx="226">
                  <c:v>0.018816243986907732</c:v>
                </c:pt>
                <c:pt idx="227">
                  <c:v>0.0015424036362741145</c:v>
                </c:pt>
                <c:pt idx="228">
                  <c:v>-0.013055102560349363</c:v>
                </c:pt>
                <c:pt idx="229">
                  <c:v>-0.013055102560349363</c:v>
                </c:pt>
                <c:pt idx="230">
                  <c:v>-0.013055102560349363</c:v>
                </c:pt>
                <c:pt idx="231">
                  <c:v>-0.04970209466860431</c:v>
                </c:pt>
                <c:pt idx="232">
                  <c:v>-0.07295789331095082</c:v>
                </c:pt>
                <c:pt idx="233">
                  <c:v>-0.06436982602421704</c:v>
                </c:pt>
                <c:pt idx="234">
                  <c:v>-0.04359737006282016</c:v>
                </c:pt>
                <c:pt idx="235">
                  <c:v>-0.06978042031119913</c:v>
                </c:pt>
                <c:pt idx="236">
                  <c:v>-0.06978042031119913</c:v>
                </c:pt>
                <c:pt idx="237">
                  <c:v>-0.06978042031119913</c:v>
                </c:pt>
                <c:pt idx="238">
                  <c:v>-0.06640415755919982</c:v>
                </c:pt>
                <c:pt idx="239">
                  <c:v>-0.05999770510338598</c:v>
                </c:pt>
                <c:pt idx="240">
                  <c:v>-0.04591690857720332</c:v>
                </c:pt>
                <c:pt idx="241">
                  <c:v>-0.07436628499797049</c:v>
                </c:pt>
                <c:pt idx="242">
                  <c:v>-0.08061526172934219</c:v>
                </c:pt>
                <c:pt idx="243">
                  <c:v>-0.08061526172934219</c:v>
                </c:pt>
                <c:pt idx="244">
                  <c:v>-0.08061526172934219</c:v>
                </c:pt>
                <c:pt idx="245">
                  <c:v>-0.11110174750937063</c:v>
                </c:pt>
                <c:pt idx="246">
                  <c:v>-0.10578114509723835</c:v>
                </c:pt>
                <c:pt idx="247">
                  <c:v>-0.11590291781265716</c:v>
                </c:pt>
                <c:pt idx="248">
                  <c:v>-0.11818069279306676</c:v>
                </c:pt>
                <c:pt idx="249">
                  <c:v>-0.09359889191105641</c:v>
                </c:pt>
                <c:pt idx="250">
                  <c:v>-0.09359889191105641</c:v>
                </c:pt>
                <c:pt idx="251">
                  <c:v>-0.09359889191105641</c:v>
                </c:pt>
                <c:pt idx="252">
                  <c:v>-0.10331971024557329</c:v>
                </c:pt>
                <c:pt idx="253">
                  <c:v>-0.08015269566489791</c:v>
                </c:pt>
                <c:pt idx="254">
                  <c:v>-0.11304647272877899</c:v>
                </c:pt>
                <c:pt idx="255">
                  <c:v>-0.11022527706681451</c:v>
                </c:pt>
                <c:pt idx="256">
                  <c:v>-0.10726105107205819</c:v>
                </c:pt>
                <c:pt idx="257">
                  <c:v>-0.10726105107205819</c:v>
                </c:pt>
                <c:pt idx="258">
                  <c:v>-0.10726105107205819</c:v>
                </c:pt>
                <c:pt idx="259">
                  <c:v>-0.092069384843258</c:v>
                </c:pt>
                <c:pt idx="260">
                  <c:v>-0.09547270724207946</c:v>
                </c:pt>
                <c:pt idx="261">
                  <c:v>-0.08745626366098813</c:v>
                </c:pt>
                <c:pt idx="262">
                  <c:v>-0.0715210980585187</c:v>
                </c:pt>
                <c:pt idx="263">
                  <c:v>-0.050827621198604955</c:v>
                </c:pt>
                <c:pt idx="264">
                  <c:v>-0.050827621198604955</c:v>
                </c:pt>
                <c:pt idx="265">
                  <c:v>-0.050827621198604955</c:v>
                </c:pt>
                <c:pt idx="266">
                  <c:v>-0.050543431629654134</c:v>
                </c:pt>
                <c:pt idx="267">
                  <c:v>-0.05460310297721682</c:v>
                </c:pt>
                <c:pt idx="268">
                  <c:v>-0.059957421205640404</c:v>
                </c:pt>
                <c:pt idx="269">
                  <c:v>-0.03970096635979348</c:v>
                </c:pt>
                <c:pt idx="270">
                  <c:v>-0.06129386067835152</c:v>
                </c:pt>
                <c:pt idx="271">
                  <c:v>-0.06129386067835152</c:v>
                </c:pt>
                <c:pt idx="272">
                  <c:v>-0.06129386067835152</c:v>
                </c:pt>
                <c:pt idx="273">
                  <c:v>-0.06539450017186554</c:v>
                </c:pt>
                <c:pt idx="274">
                  <c:v>-0.06563562216210794</c:v>
                </c:pt>
                <c:pt idx="275">
                  <c:v>-0.07848311986959033</c:v>
                </c:pt>
                <c:pt idx="276">
                  <c:v>-0.09767987883267837</c:v>
                </c:pt>
                <c:pt idx="277">
                  <c:v>-0.1169049890544851</c:v>
                </c:pt>
                <c:pt idx="278">
                  <c:v>-0.1169049890544851</c:v>
                </c:pt>
                <c:pt idx="279">
                  <c:v>-0.1169049890544851</c:v>
                </c:pt>
                <c:pt idx="280">
                  <c:v>-0.14480430861318538</c:v>
                </c:pt>
                <c:pt idx="281">
                  <c:v>-0.15555200387321233</c:v>
                </c:pt>
                <c:pt idx="282">
                  <c:v>-0.14196911206453444</c:v>
                </c:pt>
                <c:pt idx="283">
                  <c:v>-0.1659044368335827</c:v>
                </c:pt>
                <c:pt idx="284">
                  <c:v>-0.1656953329554608</c:v>
                </c:pt>
                <c:pt idx="285">
                  <c:v>-0.1656953329554608</c:v>
                </c:pt>
                <c:pt idx="286">
                  <c:v>-0.1656953329554608</c:v>
                </c:pt>
                <c:pt idx="287">
                  <c:v>-0.16190552275655068</c:v>
                </c:pt>
                <c:pt idx="288">
                  <c:v>-0.14557568973157797</c:v>
                </c:pt>
                <c:pt idx="289">
                  <c:v>-0.14931929909658193</c:v>
                </c:pt>
                <c:pt idx="290">
                  <c:v>-0.1420074249149813</c:v>
                </c:pt>
                <c:pt idx="291">
                  <c:v>-0.11595981780414599</c:v>
                </c:pt>
                <c:pt idx="292">
                  <c:v>-0.11595981780414599</c:v>
                </c:pt>
                <c:pt idx="293">
                  <c:v>-0.11595981780414599</c:v>
                </c:pt>
                <c:pt idx="294">
                  <c:v>-0.11741089674465377</c:v>
                </c:pt>
                <c:pt idx="295">
                  <c:v>-0.12906484867568047</c:v>
                </c:pt>
                <c:pt idx="296">
                  <c:v>-0.1302169495240545</c:v>
                </c:pt>
                <c:pt idx="297">
                  <c:v>-0.1364997031542058</c:v>
                </c:pt>
                <c:pt idx="298">
                  <c:v>-0.1418612442147914</c:v>
                </c:pt>
                <c:pt idx="299">
                  <c:v>-0.1418612442147914</c:v>
                </c:pt>
                <c:pt idx="300">
                  <c:v>-0.1418612442147914</c:v>
                </c:pt>
                <c:pt idx="301">
                  <c:v>-0.15309127118825783</c:v>
                </c:pt>
                <c:pt idx="302">
                  <c:v>-0.16237394336397581</c:v>
                </c:pt>
                <c:pt idx="303">
                  <c:v>-0.16117975065910373</c:v>
                </c:pt>
                <c:pt idx="304">
                  <c:v>-0.16177606460673122</c:v>
                </c:pt>
                <c:pt idx="305">
                  <c:v>-0.161354259554516</c:v>
                </c:pt>
                <c:pt idx="306">
                  <c:v>-0.161354259554516</c:v>
                </c:pt>
                <c:pt idx="307">
                  <c:v>-0.161354259554516</c:v>
                </c:pt>
                <c:pt idx="308">
                  <c:v>-0.17689838259488033</c:v>
                </c:pt>
                <c:pt idx="309">
                  <c:v>-0.17676819747767947</c:v>
                </c:pt>
                <c:pt idx="310">
                  <c:v>-0.17962384875277526</c:v>
                </c:pt>
                <c:pt idx="311">
                  <c:v>-0.18468710779059805</c:v>
                </c:pt>
                <c:pt idx="312">
                  <c:v>-0.16897290005735666</c:v>
                </c:pt>
                <c:pt idx="313">
                  <c:v>-0.16897290005735666</c:v>
                </c:pt>
                <c:pt idx="314">
                  <c:v>-0.16897290005735666</c:v>
                </c:pt>
                <c:pt idx="315">
                  <c:v>-0.17187421225311617</c:v>
                </c:pt>
                <c:pt idx="316">
                  <c:v>-0.14955819172321583</c:v>
                </c:pt>
                <c:pt idx="317">
                  <c:v>-0.14666357015522313</c:v>
                </c:pt>
                <c:pt idx="318">
                  <c:v>-0.1376951656433445</c:v>
                </c:pt>
                <c:pt idx="319">
                  <c:v>-0.14316055991418264</c:v>
                </c:pt>
                <c:pt idx="320">
                  <c:v>-0.14316055991418264</c:v>
                </c:pt>
                <c:pt idx="321">
                  <c:v>-0.14316055991418264</c:v>
                </c:pt>
                <c:pt idx="322">
                  <c:v>-0.1437369560700562</c:v>
                </c:pt>
                <c:pt idx="323">
                  <c:v>-0.15852594364795158</c:v>
                </c:pt>
                <c:pt idx="324">
                  <c:v>-0.11260591462551806</c:v>
                </c:pt>
                <c:pt idx="325">
                  <c:v>-0.10239697436306827</c:v>
                </c:pt>
                <c:pt idx="326">
                  <c:v>-0.11813091653358943</c:v>
                </c:pt>
                <c:pt idx="327">
                  <c:v>-0.11813091653358943</c:v>
                </c:pt>
                <c:pt idx="328">
                  <c:v>-0.11813091653358943</c:v>
                </c:pt>
                <c:pt idx="329">
                  <c:v>-0.1191889272222173</c:v>
                </c:pt>
                <c:pt idx="330">
                  <c:v>-0.12370840067381639</c:v>
                </c:pt>
                <c:pt idx="331">
                  <c:v>-0.13650517851104937</c:v>
                </c:pt>
                <c:pt idx="332">
                  <c:v>-0.13186401099292655</c:v>
                </c:pt>
                <c:pt idx="333">
                  <c:v>-0.13281371436436717</c:v>
                </c:pt>
                <c:pt idx="334">
                  <c:v>-0.13281371436436717</c:v>
                </c:pt>
                <c:pt idx="335">
                  <c:v>-0.13281371436436717</c:v>
                </c:pt>
                <c:pt idx="336">
                  <c:v>-0.12486694935916487</c:v>
                </c:pt>
                <c:pt idx="337">
                  <c:v>-0.14024034026753363</c:v>
                </c:pt>
                <c:pt idx="338">
                  <c:v>-0.11706906925087124</c:v>
                </c:pt>
                <c:pt idx="339">
                  <c:v>-0.11900222586437192</c:v>
                </c:pt>
                <c:pt idx="340">
                  <c:v>-0.10331385610202204</c:v>
                </c:pt>
                <c:pt idx="341">
                  <c:v>-0.10331385610202204</c:v>
                </c:pt>
                <c:pt idx="342">
                  <c:v>-0.10331385610202204</c:v>
                </c:pt>
                <c:pt idx="343">
                  <c:v>-0.10291387711656153</c:v>
                </c:pt>
                <c:pt idx="344">
                  <c:v>-0.10195404801888708</c:v>
                </c:pt>
                <c:pt idx="345">
                  <c:v>-0.10861103753366796</c:v>
                </c:pt>
                <c:pt idx="346">
                  <c:v>-0.10794249271714496</c:v>
                </c:pt>
                <c:pt idx="347">
                  <c:v>-0.12006241449711896</c:v>
                </c:pt>
                <c:pt idx="348">
                  <c:v>-0.12006241449711896</c:v>
                </c:pt>
                <c:pt idx="349">
                  <c:v>-0.12006241449711896</c:v>
                </c:pt>
                <c:pt idx="350">
                  <c:v>-0.13521613980898906</c:v>
                </c:pt>
                <c:pt idx="351">
                  <c:v>-0.13644560771013237</c:v>
                </c:pt>
                <c:pt idx="352">
                  <c:v>-0.13211885195026907</c:v>
                </c:pt>
                <c:pt idx="353">
                  <c:v>-0.1212995119014948</c:v>
                </c:pt>
                <c:pt idx="354">
                  <c:v>-0.14769645035239687</c:v>
                </c:pt>
                <c:pt idx="355">
                  <c:v>-0.14769645035239687</c:v>
                </c:pt>
                <c:pt idx="356">
                  <c:v>-0.14769645035239687</c:v>
                </c:pt>
                <c:pt idx="357">
                  <c:v>-0.1474850502972065</c:v>
                </c:pt>
                <c:pt idx="358">
                  <c:v>-0.1653224441324609</c:v>
                </c:pt>
                <c:pt idx="359">
                  <c:v>-0.17593268446836208</c:v>
                </c:pt>
                <c:pt idx="360">
                  <c:v>-0.18555041494852975</c:v>
                </c:pt>
                <c:pt idx="361">
                  <c:v>-0.2183964373133337</c:v>
                </c:pt>
                <c:pt idx="362">
                  <c:v>-0.2183964373133337</c:v>
                </c:pt>
                <c:pt idx="363">
                  <c:v>-0.2183964373133337</c:v>
                </c:pt>
                <c:pt idx="364">
                  <c:v>-0.21571268065211835</c:v>
                </c:pt>
                <c:pt idx="365">
                  <c:v>-0.2192288350097107</c:v>
                </c:pt>
                <c:pt idx="366">
                  <c:v>-0.2067986838666842</c:v>
                </c:pt>
                <c:pt idx="367">
                  <c:v>-0.2010093344996574</c:v>
                </c:pt>
                <c:pt idx="368">
                  <c:v>-0.18410542089809856</c:v>
                </c:pt>
                <c:pt idx="369">
                  <c:v>-0.18410542089809856</c:v>
                </c:pt>
                <c:pt idx="370">
                  <c:v>-0.18410542089809856</c:v>
                </c:pt>
                <c:pt idx="371">
                  <c:v>-0.17887819206105282</c:v>
                </c:pt>
                <c:pt idx="372">
                  <c:v>-0.20500239699854284</c:v>
                </c:pt>
                <c:pt idx="373">
                  <c:v>-0.2010270234088678</c:v>
                </c:pt>
                <c:pt idx="374">
                  <c:v>-0.20772940002960194</c:v>
                </c:pt>
                <c:pt idx="375">
                  <c:v>-0.2140146349460923</c:v>
                </c:pt>
                <c:pt idx="376">
                  <c:v>-0.2140146349460923</c:v>
                </c:pt>
                <c:pt idx="377">
                  <c:v>-0.2140146349460923</c:v>
                </c:pt>
                <c:pt idx="378">
                  <c:v>-0.22538629569104907</c:v>
                </c:pt>
                <c:pt idx="379">
                  <c:v>-0.2149720670274149</c:v>
                </c:pt>
                <c:pt idx="380">
                  <c:v>-0.22008862398249263</c:v>
                </c:pt>
                <c:pt idx="381">
                  <c:v>-0.23125796056123182</c:v>
                </c:pt>
                <c:pt idx="382">
                  <c:v>-0.24870224337644709</c:v>
                </c:pt>
                <c:pt idx="383">
                  <c:v>-0.24870224337644709</c:v>
                </c:pt>
                <c:pt idx="384">
                  <c:v>-0.24870224337644709</c:v>
                </c:pt>
                <c:pt idx="385">
                  <c:v>-0.23670629615312777</c:v>
                </c:pt>
                <c:pt idx="386">
                  <c:v>-0.2574273458989613</c:v>
                </c:pt>
                <c:pt idx="387">
                  <c:v>-0.24169806392345072</c:v>
                </c:pt>
                <c:pt idx="388">
                  <c:v>-0.25356578833362564</c:v>
                </c:pt>
                <c:pt idx="389">
                  <c:v>-0.2617800209736493</c:v>
                </c:pt>
                <c:pt idx="390">
                  <c:v>-0.2617800209736493</c:v>
                </c:pt>
                <c:pt idx="391">
                  <c:v>-0.2617800209736493</c:v>
                </c:pt>
                <c:pt idx="392">
                  <c:v>-0.24400880104876232</c:v>
                </c:pt>
                <c:pt idx="393">
                  <c:v>-0.2213245422269443</c:v>
                </c:pt>
                <c:pt idx="394">
                  <c:v>-0.2217711910277983</c:v>
                </c:pt>
                <c:pt idx="395">
                  <c:v>-0.2283218345344732</c:v>
                </c:pt>
                <c:pt idx="396">
                  <c:v>-0.24846072539551056</c:v>
                </c:pt>
                <c:pt idx="397">
                  <c:v>-0.24846072539551056</c:v>
                </c:pt>
                <c:pt idx="398">
                  <c:v>-0.24846072539551056</c:v>
                </c:pt>
                <c:pt idx="399">
                  <c:v>-0.249764841841709</c:v>
                </c:pt>
                <c:pt idx="400">
                  <c:v>-0.260490713944754</c:v>
                </c:pt>
                <c:pt idx="401">
                  <c:v>-0.26217727549627723</c:v>
                </c:pt>
                <c:pt idx="402">
                  <c:v>-0.24340672215937698</c:v>
                </c:pt>
                <c:pt idx="403">
                  <c:v>-0.25796611816832427</c:v>
                </c:pt>
                <c:pt idx="404">
                  <c:v>-0.25796611816832427</c:v>
                </c:pt>
                <c:pt idx="405">
                  <c:v>-0.25796611816832427</c:v>
                </c:pt>
                <c:pt idx="406">
                  <c:v>-0.23861937684088852</c:v>
                </c:pt>
                <c:pt idx="407">
                  <c:v>-0.22998050378167256</c:v>
                </c:pt>
                <c:pt idx="408">
                  <c:v>-0.23835504552639186</c:v>
                </c:pt>
                <c:pt idx="409">
                  <c:v>-0.24097494787929574</c:v>
                </c:pt>
                <c:pt idx="410">
                  <c:v>-0.22467974409823643</c:v>
                </c:pt>
                <c:pt idx="411">
                  <c:v>-0.22467974409823643</c:v>
                </c:pt>
                <c:pt idx="412">
                  <c:v>-0.22467974409823643</c:v>
                </c:pt>
                <c:pt idx="413">
                  <c:v>-0.22970472838993194</c:v>
                </c:pt>
                <c:pt idx="414">
                  <c:v>-0.20955656727694327</c:v>
                </c:pt>
                <c:pt idx="415">
                  <c:v>-0.2024340914955951</c:v>
                </c:pt>
                <c:pt idx="416">
                  <c:v>-0.20785416184737093</c:v>
                </c:pt>
                <c:pt idx="417">
                  <c:v>-0.1921677491587297</c:v>
                </c:pt>
                <c:pt idx="418">
                  <c:v>-0.1921677491587297</c:v>
                </c:pt>
                <c:pt idx="419">
                  <c:v>-0.1921677491587297</c:v>
                </c:pt>
                <c:pt idx="420">
                  <c:v>-0.19626474955581863</c:v>
                </c:pt>
                <c:pt idx="421">
                  <c:v>-0.18726551971613825</c:v>
                </c:pt>
                <c:pt idx="422">
                  <c:v>-0.2112422230168146</c:v>
                </c:pt>
                <c:pt idx="423">
                  <c:v>-0.215958315996309</c:v>
                </c:pt>
                <c:pt idx="424">
                  <c:v>-0.19863096409969383</c:v>
                </c:pt>
                <c:pt idx="425">
                  <c:v>-0.19863096409969383</c:v>
                </c:pt>
                <c:pt idx="426">
                  <c:v>-0.19863096409969383</c:v>
                </c:pt>
                <c:pt idx="427">
                  <c:v>-0.19940323754734268</c:v>
                </c:pt>
                <c:pt idx="428">
                  <c:v>-0.1841041010823784</c:v>
                </c:pt>
                <c:pt idx="429">
                  <c:v>-0.1973324415093921</c:v>
                </c:pt>
                <c:pt idx="430">
                  <c:v>-0.15429887882570503</c:v>
                </c:pt>
                <c:pt idx="431">
                  <c:v>-0.1393290218425678</c:v>
                </c:pt>
                <c:pt idx="432">
                  <c:v>-0.1393290218425678</c:v>
                </c:pt>
                <c:pt idx="433">
                  <c:v>-0.1393290218425678</c:v>
                </c:pt>
                <c:pt idx="434">
                  <c:v>-0.15133868095723535</c:v>
                </c:pt>
                <c:pt idx="435">
                  <c:v>-0.1334687923144543</c:v>
                </c:pt>
                <c:pt idx="436">
                  <c:v>-0.13727370810301998</c:v>
                </c:pt>
                <c:pt idx="437">
                  <c:v>-0.13606087414688206</c:v>
                </c:pt>
                <c:pt idx="438">
                  <c:v>-0.13107808801668208</c:v>
                </c:pt>
                <c:pt idx="439">
                  <c:v>-0.13107808801668208</c:v>
                </c:pt>
                <c:pt idx="440">
                  <c:v>-0.13107808801668208</c:v>
                </c:pt>
                <c:pt idx="441">
                  <c:v>-0.13422847419404726</c:v>
                </c:pt>
                <c:pt idx="442">
                  <c:v>-0.12313122846916835</c:v>
                </c:pt>
                <c:pt idx="443">
                  <c:v>-0.1110027414206598</c:v>
                </c:pt>
                <c:pt idx="444">
                  <c:v>-0.10860205842356252</c:v>
                </c:pt>
                <c:pt idx="445">
                  <c:v>-0.10291163326783981</c:v>
                </c:pt>
                <c:pt idx="446">
                  <c:v>-0.10291163326783981</c:v>
                </c:pt>
                <c:pt idx="447">
                  <c:v>-0.10291163326783981</c:v>
                </c:pt>
                <c:pt idx="448">
                  <c:v>-0.11472186005488016</c:v>
                </c:pt>
                <c:pt idx="449">
                  <c:v>-0.1094106097822396</c:v>
                </c:pt>
                <c:pt idx="450">
                  <c:v>-0.08348461534776663</c:v>
                </c:pt>
                <c:pt idx="451">
                  <c:v>-0.0762726627331426</c:v>
                </c:pt>
                <c:pt idx="452">
                  <c:v>-0.07561574562481055</c:v>
                </c:pt>
                <c:pt idx="453">
                  <c:v>-0.07561574562481055</c:v>
                </c:pt>
                <c:pt idx="454">
                  <c:v>-0.07561574562481055</c:v>
                </c:pt>
                <c:pt idx="455">
                  <c:v>-0.08905188358983951</c:v>
                </c:pt>
                <c:pt idx="456">
                  <c:v>-0.09796395665461444</c:v>
                </c:pt>
                <c:pt idx="457">
                  <c:v>-0.09509029171890193</c:v>
                </c:pt>
                <c:pt idx="458">
                  <c:v>-0.08760056776159075</c:v>
                </c:pt>
                <c:pt idx="459">
                  <c:v>-0.08952284032694302</c:v>
                </c:pt>
                <c:pt idx="460">
                  <c:v>-0.08952284032694302</c:v>
                </c:pt>
                <c:pt idx="461">
                  <c:v>-0.08952284032694302</c:v>
                </c:pt>
                <c:pt idx="462">
                  <c:v>-0.07744010661491929</c:v>
                </c:pt>
                <c:pt idx="463">
                  <c:v>-0.06772708276819428</c:v>
                </c:pt>
                <c:pt idx="464">
                  <c:v>-0.06745874859185308</c:v>
                </c:pt>
                <c:pt idx="465">
                  <c:v>-0.08766392611231633</c:v>
                </c:pt>
                <c:pt idx="466">
                  <c:v>-0.09447342703120232</c:v>
                </c:pt>
                <c:pt idx="467">
                  <c:v>-0.09447342703120232</c:v>
                </c:pt>
                <c:pt idx="468">
                  <c:v>-0.09447342703120232</c:v>
                </c:pt>
                <c:pt idx="469">
                  <c:v>-0.09196969266453392</c:v>
                </c:pt>
                <c:pt idx="470">
                  <c:v>-0.09111665626633692</c:v>
                </c:pt>
                <c:pt idx="471">
                  <c:v>-0.07434582548917634</c:v>
                </c:pt>
                <c:pt idx="472">
                  <c:v>-0.08487504754311248</c:v>
                </c:pt>
                <c:pt idx="473">
                  <c:v>-0.0807137834200039</c:v>
                </c:pt>
                <c:pt idx="474">
                  <c:v>-0.0807137834200039</c:v>
                </c:pt>
                <c:pt idx="475">
                  <c:v>-0.0807137834200039</c:v>
                </c:pt>
                <c:pt idx="476">
                  <c:v>-0.0768198636078441</c:v>
                </c:pt>
                <c:pt idx="477">
                  <c:v>-0.07740614294978032</c:v>
                </c:pt>
                <c:pt idx="478">
                  <c:v>-0.08568512915557658</c:v>
                </c:pt>
                <c:pt idx="479">
                  <c:v>-0.06844783671065635</c:v>
                </c:pt>
                <c:pt idx="480">
                  <c:v>-0.06980055128321105</c:v>
                </c:pt>
                <c:pt idx="481">
                  <c:v>-0.06980055128321105</c:v>
                </c:pt>
                <c:pt idx="482">
                  <c:v>-0.06980055128321105</c:v>
                </c:pt>
                <c:pt idx="483">
                  <c:v>-0.06814157130817655</c:v>
                </c:pt>
                <c:pt idx="484">
                  <c:v>-0.06969589550401512</c:v>
                </c:pt>
                <c:pt idx="485">
                  <c:v>-0.056176498676987374</c:v>
                </c:pt>
                <c:pt idx="486">
                  <c:v>-0.06191684722371016</c:v>
                </c:pt>
                <c:pt idx="487">
                  <c:v>-0.03866449825462703</c:v>
                </c:pt>
                <c:pt idx="488">
                  <c:v>-0.03866449825462703</c:v>
                </c:pt>
                <c:pt idx="489">
                  <c:v>-0.03866449825462703</c:v>
                </c:pt>
                <c:pt idx="490">
                  <c:v>-0.03465430861115548</c:v>
                </c:pt>
                <c:pt idx="491">
                  <c:v>-0.02705146982763218</c:v>
                </c:pt>
                <c:pt idx="492">
                  <c:v>-0.01636450272298251</c:v>
                </c:pt>
                <c:pt idx="493">
                  <c:v>-0.007581642949943679</c:v>
                </c:pt>
                <c:pt idx="494">
                  <c:v>-0.0036783807502803745</c:v>
                </c:pt>
                <c:pt idx="495">
                  <c:v>-0.0036783807502803745</c:v>
                </c:pt>
                <c:pt idx="496">
                  <c:v>-0.0036783807502803745</c:v>
                </c:pt>
                <c:pt idx="497">
                  <c:v>-0.0042807670158743205</c:v>
                </c:pt>
                <c:pt idx="498">
                  <c:v>0.0011713264354769048</c:v>
                </c:pt>
                <c:pt idx="499">
                  <c:v>-0.005984587922807538</c:v>
                </c:pt>
                <c:pt idx="500">
                  <c:v>-0.011680997965208939</c:v>
                </c:pt>
                <c:pt idx="501">
                  <c:v>0.016566942468839274</c:v>
                </c:pt>
                <c:pt idx="502">
                  <c:v>0.016566942468839274</c:v>
                </c:pt>
                <c:pt idx="503">
                  <c:v>0.016566942468839274</c:v>
                </c:pt>
                <c:pt idx="504">
                  <c:v>0.017096518921145387</c:v>
                </c:pt>
                <c:pt idx="505">
                  <c:v>0.022385664605915068</c:v>
                </c:pt>
                <c:pt idx="506">
                  <c:v>0.030153721867368866</c:v>
                </c:pt>
                <c:pt idx="507">
                  <c:v>0.04204300159661045</c:v>
                </c:pt>
                <c:pt idx="508">
                  <c:v>0.04677504266831223</c:v>
                </c:pt>
                <c:pt idx="509">
                  <c:v>0.04677504266831223</c:v>
                </c:pt>
                <c:pt idx="510">
                  <c:v>0.04677504266831223</c:v>
                </c:pt>
                <c:pt idx="511">
                  <c:v>0.03596406911375882</c:v>
                </c:pt>
                <c:pt idx="512">
                  <c:v>0.052231812605371575</c:v>
                </c:pt>
                <c:pt idx="513">
                  <c:v>0.0632106662717522</c:v>
                </c:pt>
                <c:pt idx="514">
                  <c:v>0.07633722003919852</c:v>
                </c:pt>
                <c:pt idx="515">
                  <c:v>0.06372705050667804</c:v>
                </c:pt>
                <c:pt idx="516">
                  <c:v>0.06372705050667804</c:v>
                </c:pt>
                <c:pt idx="517">
                  <c:v>0.06372705050667804</c:v>
                </c:pt>
                <c:pt idx="518">
                  <c:v>0.06504013057920455</c:v>
                </c:pt>
                <c:pt idx="519">
                  <c:v>0.06717551080832074</c:v>
                </c:pt>
                <c:pt idx="520">
                  <c:v>0.06086955332325372</c:v>
                </c:pt>
                <c:pt idx="521">
                  <c:v>0.058778345117010966</c:v>
                </c:pt>
                <c:pt idx="522">
                  <c:v>0.058541638305540156</c:v>
                </c:pt>
                <c:pt idx="523">
                  <c:v>0.058541638305540156</c:v>
                </c:pt>
                <c:pt idx="524">
                  <c:v>0.058541638305540156</c:v>
                </c:pt>
                <c:pt idx="525">
                  <c:v>0.07078532837921103</c:v>
                </c:pt>
                <c:pt idx="526">
                  <c:v>0.07299808600225433</c:v>
                </c:pt>
                <c:pt idx="527">
                  <c:v>0.07724476264380487</c:v>
                </c:pt>
                <c:pt idx="528">
                  <c:v>0.06795604160314506</c:v>
                </c:pt>
                <c:pt idx="529">
                  <c:v>0.06716554339518921</c:v>
                </c:pt>
                <c:pt idx="530">
                  <c:v>0.06716554339518921</c:v>
                </c:pt>
                <c:pt idx="531">
                  <c:v>0.06716554339518921</c:v>
                </c:pt>
                <c:pt idx="532">
                  <c:v>0.06225610788110769</c:v>
                </c:pt>
                <c:pt idx="533">
                  <c:v>0.05406779708909659</c:v>
                </c:pt>
                <c:pt idx="534">
                  <c:v>0.053428373777950844</c:v>
                </c:pt>
                <c:pt idx="535">
                  <c:v>0.061266743290680825</c:v>
                </c:pt>
                <c:pt idx="536">
                  <c:v>0.05141270008408294</c:v>
                </c:pt>
                <c:pt idx="537">
                  <c:v>0.05141270008408294</c:v>
                </c:pt>
                <c:pt idx="538">
                  <c:v>0.05141270008408294</c:v>
                </c:pt>
                <c:pt idx="539">
                  <c:v>0.059921415178834536</c:v>
                </c:pt>
                <c:pt idx="540">
                  <c:v>0.05770371125229512</c:v>
                </c:pt>
                <c:pt idx="541">
                  <c:v>0.061122905405596395</c:v>
                </c:pt>
                <c:pt idx="542">
                  <c:v>0.07378906113340178</c:v>
                </c:pt>
                <c:pt idx="543">
                  <c:v>0.09298138445510662</c:v>
                </c:pt>
                <c:pt idx="544">
                  <c:v>0.09298138445510662</c:v>
                </c:pt>
                <c:pt idx="545">
                  <c:v>0.09298138445510662</c:v>
                </c:pt>
                <c:pt idx="546">
                  <c:v>0.09235373913344613</c:v>
                </c:pt>
                <c:pt idx="547">
                  <c:v>0.08285594387699402</c:v>
                </c:pt>
                <c:pt idx="548">
                  <c:v>0.08505545289998317</c:v>
                </c:pt>
                <c:pt idx="549">
                  <c:v>0.07026799758683144</c:v>
                </c:pt>
                <c:pt idx="550">
                  <c:v>0.056812239827173316</c:v>
                </c:pt>
                <c:pt idx="551">
                  <c:v>0.056812239827173316</c:v>
                </c:pt>
                <c:pt idx="552">
                  <c:v>0.056812239827173316</c:v>
                </c:pt>
                <c:pt idx="553">
                  <c:v>0.049878893339704966</c:v>
                </c:pt>
                <c:pt idx="554">
                  <c:v>0.07675695050843134</c:v>
                </c:pt>
                <c:pt idx="555">
                  <c:v>0.0598642569535337</c:v>
                </c:pt>
                <c:pt idx="556">
                  <c:v>0.08993745268990816</c:v>
                </c:pt>
                <c:pt idx="557">
                  <c:v>0.0775545571775631</c:v>
                </c:pt>
                <c:pt idx="558">
                  <c:v>0.0775545571775631</c:v>
                </c:pt>
                <c:pt idx="559">
                  <c:v>0.0775545571775631</c:v>
                </c:pt>
                <c:pt idx="560">
                  <c:v>0.07266281532497021</c:v>
                </c:pt>
                <c:pt idx="561">
                  <c:v>0.10764018004475773</c:v>
                </c:pt>
                <c:pt idx="562">
                  <c:v>0.103795731534297</c:v>
                </c:pt>
                <c:pt idx="563">
                  <c:v>0.11345440259102424</c:v>
                </c:pt>
                <c:pt idx="564">
                  <c:v>0.12755426968833494</c:v>
                </c:pt>
                <c:pt idx="565">
                  <c:v>0.12755426968833494</c:v>
                </c:pt>
                <c:pt idx="566">
                  <c:v>0.12755426968833494</c:v>
                </c:pt>
                <c:pt idx="567">
                  <c:v>0.13595438151721284</c:v>
                </c:pt>
                <c:pt idx="568">
                  <c:v>0.14204114691771608</c:v>
                </c:pt>
                <c:pt idx="569">
                  <c:v>0.15337711047699454</c:v>
                </c:pt>
                <c:pt idx="570">
                  <c:v>0.16422257689939834</c:v>
                </c:pt>
                <c:pt idx="571">
                  <c:v>0.1846606741745671</c:v>
                </c:pt>
                <c:pt idx="572">
                  <c:v>0.1846606741745671</c:v>
                </c:pt>
                <c:pt idx="573">
                  <c:v>0.1846606741745671</c:v>
                </c:pt>
                <c:pt idx="574">
                  <c:v>0.1776228652544285</c:v>
                </c:pt>
                <c:pt idx="575">
                  <c:v>0.1460639150121814</c:v>
                </c:pt>
                <c:pt idx="576">
                  <c:v>0.12451046880820349</c:v>
                </c:pt>
                <c:pt idx="577">
                  <c:v>0.10348772263394102</c:v>
                </c:pt>
                <c:pt idx="578">
                  <c:v>0.09606082813275552</c:v>
                </c:pt>
                <c:pt idx="579">
                  <c:v>0.09606082813275552</c:v>
                </c:pt>
                <c:pt idx="580">
                  <c:v>0.09606082813275552</c:v>
                </c:pt>
                <c:pt idx="581">
                  <c:v>0.08879260755446361</c:v>
                </c:pt>
                <c:pt idx="582">
                  <c:v>0.09982935514405589</c:v>
                </c:pt>
                <c:pt idx="583">
                  <c:v>0.07085241588375646</c:v>
                </c:pt>
                <c:pt idx="584">
                  <c:v>0.05089751848896018</c:v>
                </c:pt>
                <c:pt idx="585">
                  <c:v>0.038412551604748435</c:v>
                </c:pt>
                <c:pt idx="586">
                  <c:v>0.038412551604748435</c:v>
                </c:pt>
                <c:pt idx="587">
                  <c:v>0.038412551604748435</c:v>
                </c:pt>
                <c:pt idx="588">
                  <c:v>0.017435193967591855</c:v>
                </c:pt>
                <c:pt idx="589">
                  <c:v>-0.009226246000038407</c:v>
                </c:pt>
                <c:pt idx="590">
                  <c:v>-0.007699637111520552</c:v>
                </c:pt>
                <c:pt idx="591">
                  <c:v>-0.02962261176400549</c:v>
                </c:pt>
                <c:pt idx="592">
                  <c:v>-0.0321394697976225</c:v>
                </c:pt>
                <c:pt idx="593">
                  <c:v>-0.0321394697976225</c:v>
                </c:pt>
                <c:pt idx="594">
                  <c:v>-0.0321394697976225</c:v>
                </c:pt>
                <c:pt idx="595">
                  <c:v>-0.023766967965298536</c:v>
                </c:pt>
                <c:pt idx="596">
                  <c:v>-0.03969458708855156</c:v>
                </c:pt>
                <c:pt idx="597">
                  <c:v>-0.033258777686878016</c:v>
                </c:pt>
                <c:pt idx="598">
                  <c:v>-0.013686214623944704</c:v>
                </c:pt>
                <c:pt idx="599">
                  <c:v>-0.0029654783096327852</c:v>
                </c:pt>
                <c:pt idx="600">
                  <c:v>-0.0029654783096327852</c:v>
                </c:pt>
                <c:pt idx="601">
                  <c:v>-0.0029654783096327852</c:v>
                </c:pt>
                <c:pt idx="602">
                  <c:v>-0.01675041331264404</c:v>
                </c:pt>
                <c:pt idx="603">
                  <c:v>-0.016806989404210215</c:v>
                </c:pt>
                <c:pt idx="604">
                  <c:v>-0.0198179101526752</c:v>
                </c:pt>
                <c:pt idx="605">
                  <c:v>-0.019473040370242445</c:v>
                </c:pt>
                <c:pt idx="606">
                  <c:v>0.006910563702217987</c:v>
                </c:pt>
                <c:pt idx="607">
                  <c:v>0.006910563702217987</c:v>
                </c:pt>
                <c:pt idx="608">
                  <c:v>0.006910563702217987</c:v>
                </c:pt>
                <c:pt idx="609">
                  <c:v>0.007574379287116795</c:v>
                </c:pt>
                <c:pt idx="610">
                  <c:v>0.007607744288093299</c:v>
                </c:pt>
                <c:pt idx="611">
                  <c:v>0.017612312911054362</c:v>
                </c:pt>
                <c:pt idx="612">
                  <c:v>0.01670902556662912</c:v>
                </c:pt>
                <c:pt idx="613">
                  <c:v>0.015537207662002173</c:v>
                </c:pt>
                <c:pt idx="614">
                  <c:v>0.015537207662002173</c:v>
                </c:pt>
                <c:pt idx="615">
                  <c:v>0.015537207662002173</c:v>
                </c:pt>
                <c:pt idx="616">
                  <c:v>0.0224973076939039</c:v>
                </c:pt>
                <c:pt idx="617">
                  <c:v>0.038637757376912996</c:v>
                </c:pt>
                <c:pt idx="618">
                  <c:v>0.04810136348623373</c:v>
                </c:pt>
                <c:pt idx="619">
                  <c:v>0.04600145869056771</c:v>
                </c:pt>
                <c:pt idx="620">
                  <c:v>0.05142221952988413</c:v>
                </c:pt>
                <c:pt idx="621">
                  <c:v>0.05142221952988413</c:v>
                </c:pt>
                <c:pt idx="622">
                  <c:v>0.05142221952988413</c:v>
                </c:pt>
                <c:pt idx="623">
                  <c:v>0.06404038816722535</c:v>
                </c:pt>
                <c:pt idx="624">
                  <c:v>0.052565434833078184</c:v>
                </c:pt>
                <c:pt idx="625">
                  <c:v>0.05577466156972455</c:v>
                </c:pt>
                <c:pt idx="626">
                  <c:v>0.06184020335972962</c:v>
                </c:pt>
                <c:pt idx="627">
                  <c:v>0.08689367689080307</c:v>
                </c:pt>
                <c:pt idx="628">
                  <c:v>0.08689367689080307</c:v>
                </c:pt>
                <c:pt idx="629">
                  <c:v>0.08689367689080307</c:v>
                </c:pt>
                <c:pt idx="630">
                  <c:v>0.08488822425197107</c:v>
                </c:pt>
                <c:pt idx="631">
                  <c:v>0.08237854227132546</c:v>
                </c:pt>
                <c:pt idx="632">
                  <c:v>0.07611114587640389</c:v>
                </c:pt>
                <c:pt idx="633">
                  <c:v>0.09562219333391053</c:v>
                </c:pt>
                <c:pt idx="634">
                  <c:v>0.11337698622377923</c:v>
                </c:pt>
                <c:pt idx="635">
                  <c:v>0.11337698622377923</c:v>
                </c:pt>
                <c:pt idx="636">
                  <c:v>0.11337698622377923</c:v>
                </c:pt>
                <c:pt idx="637">
                  <c:v>0.12567819519660994</c:v>
                </c:pt>
                <c:pt idx="638">
                  <c:v>0.13281616644771432</c:v>
                </c:pt>
                <c:pt idx="639">
                  <c:v>0.138177999232852</c:v>
                </c:pt>
                <c:pt idx="640">
                  <c:v>0.145068601283882</c:v>
                </c:pt>
                <c:pt idx="641">
                  <c:v>0.1542288020083693</c:v>
                </c:pt>
                <c:pt idx="642">
                  <c:v>0.1542288020083693</c:v>
                </c:pt>
                <c:pt idx="643">
                  <c:v>0.1542288020083693</c:v>
                </c:pt>
                <c:pt idx="644">
                  <c:v>0.16224658180084806</c:v>
                </c:pt>
                <c:pt idx="645">
                  <c:v>0.14860815161106222</c:v>
                </c:pt>
                <c:pt idx="646">
                  <c:v>0.10776725952028321</c:v>
                </c:pt>
                <c:pt idx="647">
                  <c:v>0.12292245382621281</c:v>
                </c:pt>
                <c:pt idx="648">
                  <c:v>0.1365422717841107</c:v>
                </c:pt>
                <c:pt idx="649">
                  <c:v>0.1365422717841107</c:v>
                </c:pt>
                <c:pt idx="650">
                  <c:v>0.1365422717841107</c:v>
                </c:pt>
                <c:pt idx="651">
                  <c:v>0.13512001273457774</c:v>
                </c:pt>
                <c:pt idx="652">
                  <c:v>0.12816187271578983</c:v>
                </c:pt>
                <c:pt idx="653">
                  <c:v>0.012167647834679496</c:v>
                </c:pt>
                <c:pt idx="654">
                  <c:v>0.011236723029708573</c:v>
                </c:pt>
                <c:pt idx="655">
                  <c:v>0.015187748534152279</c:v>
                </c:pt>
                <c:pt idx="656">
                  <c:v>0.015187748534152279</c:v>
                </c:pt>
                <c:pt idx="657">
                  <c:v>0.015187748534152279</c:v>
                </c:pt>
                <c:pt idx="658">
                  <c:v>-0.028743727652395634</c:v>
                </c:pt>
                <c:pt idx="659">
                  <c:v>-0.011421399909805396</c:v>
                </c:pt>
                <c:pt idx="660">
                  <c:v>0.002369788103306014</c:v>
                </c:pt>
                <c:pt idx="661">
                  <c:v>0.004246172945639559</c:v>
                </c:pt>
                <c:pt idx="662">
                  <c:v>0.0235201155330389</c:v>
                </c:pt>
                <c:pt idx="663">
                  <c:v>0.0235201155330389</c:v>
                </c:pt>
                <c:pt idx="664">
                  <c:v>0.0235201155330389</c:v>
                </c:pt>
                <c:pt idx="665">
                  <c:v>0.032718102404999394</c:v>
                </c:pt>
                <c:pt idx="666">
                  <c:v>0.047196030485700424</c:v>
                </c:pt>
                <c:pt idx="667">
                  <c:v>0.04361223024453875</c:v>
                </c:pt>
                <c:pt idx="668">
                  <c:v>0.01689734674482324</c:v>
                </c:pt>
                <c:pt idx="669">
                  <c:v>0.061571044023938315</c:v>
                </c:pt>
                <c:pt idx="670">
                  <c:v>0.061571044023938315</c:v>
                </c:pt>
                <c:pt idx="671">
                  <c:v>0.061571044023938315</c:v>
                </c:pt>
                <c:pt idx="672">
                  <c:v>0.03706449297316139</c:v>
                </c:pt>
                <c:pt idx="673">
                  <c:v>0.06123235115705694</c:v>
                </c:pt>
                <c:pt idx="674">
                  <c:v>0.08327277072046413</c:v>
                </c:pt>
                <c:pt idx="675">
                  <c:v>0.09187400624267372</c:v>
                </c:pt>
                <c:pt idx="676">
                  <c:v>0.1020346945463444</c:v>
                </c:pt>
                <c:pt idx="677">
                  <c:v>0.1020346945463444</c:v>
                </c:pt>
                <c:pt idx="678">
                  <c:v>0.1020346945463444</c:v>
                </c:pt>
                <c:pt idx="679">
                  <c:v>0.11284861014199632</c:v>
                </c:pt>
                <c:pt idx="680">
                  <c:v>0.13780375267399925</c:v>
                </c:pt>
                <c:pt idx="681">
                  <c:v>0.1418174966851673</c:v>
                </c:pt>
                <c:pt idx="682">
                  <c:v>0.14304849193119407</c:v>
                </c:pt>
                <c:pt idx="683">
                  <c:v>0.15707586645036686</c:v>
                </c:pt>
                <c:pt idx="684">
                  <c:v>0.15707586645036686</c:v>
                </c:pt>
                <c:pt idx="685">
                  <c:v>0.15707586645036686</c:v>
                </c:pt>
                <c:pt idx="686">
                  <c:v>0.17237674109183665</c:v>
                </c:pt>
                <c:pt idx="687">
                  <c:v>0.17316991085579758</c:v>
                </c:pt>
                <c:pt idx="688">
                  <c:v>0.16963829794912222</c:v>
                </c:pt>
                <c:pt idx="689">
                  <c:v>0.12040284523267641</c:v>
                </c:pt>
                <c:pt idx="690">
                  <c:v>0.1197027054233466</c:v>
                </c:pt>
                <c:pt idx="691">
                  <c:v>0.1197027054233466</c:v>
                </c:pt>
                <c:pt idx="692">
                  <c:v>0.1197027054233466</c:v>
                </c:pt>
                <c:pt idx="693">
                  <c:v>0.1262546385764456</c:v>
                </c:pt>
                <c:pt idx="694">
                  <c:v>0.14172408793884617</c:v>
                </c:pt>
                <c:pt idx="695">
                  <c:v>0.12858326616239268</c:v>
                </c:pt>
                <c:pt idx="696">
                  <c:v>0.1389129491515717</c:v>
                </c:pt>
                <c:pt idx="697">
                  <c:v>0.13724534866205307</c:v>
                </c:pt>
                <c:pt idx="698">
                  <c:v>0.13724534866205307</c:v>
                </c:pt>
                <c:pt idx="699">
                  <c:v>0.13724534866205307</c:v>
                </c:pt>
                <c:pt idx="700">
                  <c:v>0.14273180525112616</c:v>
                </c:pt>
                <c:pt idx="701">
                  <c:v>0.1644597928429763</c:v>
                </c:pt>
                <c:pt idx="702">
                  <c:v>0.1279671428062923</c:v>
                </c:pt>
                <c:pt idx="703">
                  <c:v>0.11538910499064481</c:v>
                </c:pt>
                <c:pt idx="704">
                  <c:v>0.11697730429623032</c:v>
                </c:pt>
                <c:pt idx="705">
                  <c:v>0.11697730429623032</c:v>
                </c:pt>
                <c:pt idx="706">
                  <c:v>0.11697730429623032</c:v>
                </c:pt>
                <c:pt idx="707">
                  <c:v>0.12906010282003066</c:v>
                </c:pt>
                <c:pt idx="708">
                  <c:v>0.1250368175835186</c:v>
                </c:pt>
                <c:pt idx="709">
                  <c:v>0.12604502420952968</c:v>
                </c:pt>
                <c:pt idx="710">
                  <c:v>0.1239547952290716</c:v>
                </c:pt>
                <c:pt idx="711">
                  <c:v>0.12347536734475373</c:v>
                </c:pt>
                <c:pt idx="712">
                  <c:v>0.12347536734475373</c:v>
                </c:pt>
                <c:pt idx="713">
                  <c:v>0.12347536734475373</c:v>
                </c:pt>
                <c:pt idx="714">
                  <c:v>0.11518484738498125</c:v>
                </c:pt>
                <c:pt idx="715">
                  <c:v>0.12349942072099251</c:v>
                </c:pt>
                <c:pt idx="716">
                  <c:v>0.13170480293620535</c:v>
                </c:pt>
                <c:pt idx="717">
                  <c:v>0.11864886618698223</c:v>
                </c:pt>
                <c:pt idx="718">
                  <c:v>0.1327111088862618</c:v>
                </c:pt>
                <c:pt idx="719">
                  <c:v>0.1327111088862618</c:v>
                </c:pt>
                <c:pt idx="720">
                  <c:v>0.1327111088862618</c:v>
                </c:pt>
                <c:pt idx="721">
                  <c:v>0.15094926467634306</c:v>
                </c:pt>
                <c:pt idx="722">
                  <c:v>0.1711916313256212</c:v>
                </c:pt>
                <c:pt idx="723">
                  <c:v>0.18710967902841014</c:v>
                </c:pt>
                <c:pt idx="724">
                  <c:v>0.1815027715183828</c:v>
                </c:pt>
                <c:pt idx="725">
                  <c:v>0.19603464656080782</c:v>
                </c:pt>
                <c:pt idx="726">
                  <c:v>0.19603464656080782</c:v>
                </c:pt>
                <c:pt idx="727">
                  <c:v>0.19603464656080782</c:v>
                </c:pt>
                <c:pt idx="728">
                  <c:v>0.2043091303090332</c:v>
                </c:pt>
                <c:pt idx="729">
                  <c:v>0.19865281680637925</c:v>
                </c:pt>
                <c:pt idx="730">
                  <c:v>0.2015167946729488</c:v>
                </c:pt>
                <c:pt idx="731">
                  <c:v>0.2000263405375271</c:v>
                </c:pt>
                <c:pt idx="732">
                  <c:v>0.21135602992809033</c:v>
                </c:pt>
                <c:pt idx="733">
                  <c:v>0.21135602992809033</c:v>
                </c:pt>
                <c:pt idx="734">
                  <c:v>0.21135602992809033</c:v>
                </c:pt>
                <c:pt idx="735">
                  <c:v>0.222119492425098</c:v>
                </c:pt>
                <c:pt idx="736">
                  <c:v>0.224765146467242</c:v>
                </c:pt>
                <c:pt idx="737">
                  <c:v>0.23015128690923015</c:v>
                </c:pt>
                <c:pt idx="738">
                  <c:v>0.24507706569556342</c:v>
                </c:pt>
                <c:pt idx="739">
                  <c:v>0.20466061478277564</c:v>
                </c:pt>
                <c:pt idx="740">
                  <c:v>0.20466061478277564</c:v>
                </c:pt>
                <c:pt idx="741">
                  <c:v>0.20466061478277564</c:v>
                </c:pt>
                <c:pt idx="742">
                  <c:v>0.19561096595031424</c:v>
                </c:pt>
                <c:pt idx="743">
                  <c:v>0.20356455060837542</c:v>
                </c:pt>
                <c:pt idx="744">
                  <c:v>0.19893128712428965</c:v>
                </c:pt>
                <c:pt idx="745">
                  <c:v>0.19105269845848638</c:v>
                </c:pt>
                <c:pt idx="746">
                  <c:v>0.19327632913451076</c:v>
                </c:pt>
                <c:pt idx="747">
                  <c:v>0.19327632913451076</c:v>
                </c:pt>
                <c:pt idx="748">
                  <c:v>0.19327632913451076</c:v>
                </c:pt>
                <c:pt idx="749">
                  <c:v>0.19270230417329337</c:v>
                </c:pt>
                <c:pt idx="750">
                  <c:v>0.1860135573910089</c:v>
                </c:pt>
                <c:pt idx="751">
                  <c:v>0.18566394369283445</c:v>
                </c:pt>
                <c:pt idx="752">
                  <c:v>0.17716533466001128</c:v>
                </c:pt>
                <c:pt idx="753">
                  <c:v>0.17568029229405813</c:v>
                </c:pt>
                <c:pt idx="754">
                  <c:v>0.17568029229405813</c:v>
                </c:pt>
                <c:pt idx="755">
                  <c:v>0.17568029229405813</c:v>
                </c:pt>
                <c:pt idx="756">
                  <c:v>0.18128450268350638</c:v>
                </c:pt>
                <c:pt idx="757">
                  <c:v>0.1691860335796742</c:v>
                </c:pt>
                <c:pt idx="758">
                  <c:v>0.1837560442027084</c:v>
                </c:pt>
                <c:pt idx="759">
                  <c:v>0.1865714685518387</c:v>
                </c:pt>
                <c:pt idx="760">
                  <c:v>0.20190155878949523</c:v>
                </c:pt>
                <c:pt idx="761">
                  <c:v>0.20190155878949523</c:v>
                </c:pt>
                <c:pt idx="762">
                  <c:v>0.20190155878949523</c:v>
                </c:pt>
                <c:pt idx="763">
                  <c:v>0.20701063135347564</c:v>
                </c:pt>
                <c:pt idx="764">
                  <c:v>0.2295145593689647</c:v>
                </c:pt>
                <c:pt idx="765">
                  <c:v>0.23469980706716753</c:v>
                </c:pt>
                <c:pt idx="766">
                  <c:v>0.23048911538073868</c:v>
                </c:pt>
                <c:pt idx="767">
                  <c:v>0.2205055186520466</c:v>
                </c:pt>
                <c:pt idx="768">
                  <c:v>0.2205055186520466</c:v>
                </c:pt>
                <c:pt idx="769">
                  <c:v>0.2205055186520466</c:v>
                </c:pt>
                <c:pt idx="770">
                  <c:v>0.22353289882825722</c:v>
                </c:pt>
                <c:pt idx="771">
                  <c:v>0.22103478443231017</c:v>
                </c:pt>
                <c:pt idx="772">
                  <c:v>0.21160057921760345</c:v>
                </c:pt>
                <c:pt idx="773">
                  <c:v>0.2117619451634034</c:v>
                </c:pt>
                <c:pt idx="774">
                  <c:v>0.19165036025750726</c:v>
                </c:pt>
                <c:pt idx="775">
                  <c:v>0.19165036025750726</c:v>
                </c:pt>
                <c:pt idx="776">
                  <c:v>0.19165036025750726</c:v>
                </c:pt>
                <c:pt idx="777">
                  <c:v>0.19336329273740227</c:v>
                </c:pt>
                <c:pt idx="778">
                  <c:v>0.20773762516060912</c:v>
                </c:pt>
                <c:pt idx="779">
                  <c:v>0.19401750591834155</c:v>
                </c:pt>
                <c:pt idx="780">
                  <c:v>0.18889881109818774</c:v>
                </c:pt>
                <c:pt idx="781">
                  <c:v>0.1900591241863454</c:v>
                </c:pt>
                <c:pt idx="782">
                  <c:v>0.1900591241863454</c:v>
                </c:pt>
                <c:pt idx="783">
                  <c:v>0.1900591241863454</c:v>
                </c:pt>
                <c:pt idx="784">
                  <c:v>0.20383994156154261</c:v>
                </c:pt>
                <c:pt idx="785">
                  <c:v>0.21379979867268029</c:v>
                </c:pt>
                <c:pt idx="786">
                  <c:v>0.22655861738433125</c:v>
                </c:pt>
                <c:pt idx="787">
                  <c:v>0.2546584382979096</c:v>
                </c:pt>
                <c:pt idx="788">
                  <c:v>0.26902914066909145</c:v>
                </c:pt>
                <c:pt idx="789">
                  <c:v>0.26902914066909145</c:v>
                </c:pt>
                <c:pt idx="790">
                  <c:v>0.26902914066909145</c:v>
                </c:pt>
                <c:pt idx="791">
                  <c:v>0.26768155464255106</c:v>
                </c:pt>
                <c:pt idx="792">
                  <c:v>0.27444878341252266</c:v>
                </c:pt>
                <c:pt idx="793">
                  <c:v>0.2906384284180765</c:v>
                </c:pt>
                <c:pt idx="794">
                  <c:v>0.2875466156606965</c:v>
                </c:pt>
                <c:pt idx="795">
                  <c:v>0.31450191868262767</c:v>
                </c:pt>
                <c:pt idx="796">
                  <c:v>0.31450191868262767</c:v>
                </c:pt>
                <c:pt idx="797">
                  <c:v>0.31450191868262767</c:v>
                </c:pt>
                <c:pt idx="798">
                  <c:v>0.31442321023179987</c:v>
                </c:pt>
                <c:pt idx="799">
                  <c:v>0.34799345639764523</c:v>
                </c:pt>
                <c:pt idx="800">
                  <c:v>0.356103331771237</c:v>
                </c:pt>
                <c:pt idx="801">
                  <c:v>0.3627439730212205</c:v>
                </c:pt>
                <c:pt idx="802">
                  <c:v>0.37452128722012756</c:v>
                </c:pt>
                <c:pt idx="803">
                  <c:v>0.37452128722012756</c:v>
                </c:pt>
                <c:pt idx="804">
                  <c:v>0.37452128722012756</c:v>
                </c:pt>
                <c:pt idx="805">
                  <c:v>0.38258296117693447</c:v>
                </c:pt>
                <c:pt idx="806">
                  <c:v>0.38665559319058684</c:v>
                </c:pt>
                <c:pt idx="807">
                  <c:v>0.39331407670643337</c:v>
                </c:pt>
                <c:pt idx="808">
                  <c:v>0.3946623549510877</c:v>
                </c:pt>
                <c:pt idx="809">
                  <c:v>0.4028349446566224</c:v>
                </c:pt>
                <c:pt idx="810">
                  <c:v>0.4028349446566224</c:v>
                </c:pt>
                <c:pt idx="811">
                  <c:v>0.4028349446566224</c:v>
                </c:pt>
                <c:pt idx="812">
                  <c:v>0.4040328792567538</c:v>
                </c:pt>
                <c:pt idx="813">
                  <c:v>0.41274794859908037</c:v>
                </c:pt>
                <c:pt idx="814">
                  <c:v>0.4149816152963697</c:v>
                </c:pt>
                <c:pt idx="815">
                  <c:v>0.42612161440290897</c:v>
                </c:pt>
                <c:pt idx="816">
                  <c:v>0.4357424291910992</c:v>
                </c:pt>
                <c:pt idx="817">
                  <c:v>0.4357424291910992</c:v>
                </c:pt>
                <c:pt idx="818">
                  <c:v>0.4357424291910992</c:v>
                </c:pt>
                <c:pt idx="819">
                  <c:v>0.42924411573713916</c:v>
                </c:pt>
                <c:pt idx="820">
                  <c:v>0.4307159559450948</c:v>
                </c:pt>
                <c:pt idx="821">
                  <c:v>0.4360801188432937</c:v>
                </c:pt>
                <c:pt idx="822">
                  <c:v>0.45200548510119787</c:v>
                </c:pt>
                <c:pt idx="823">
                  <c:v>0.46948355771509376</c:v>
                </c:pt>
                <c:pt idx="824">
                  <c:v>0.46948355771509376</c:v>
                </c:pt>
                <c:pt idx="825">
                  <c:v>0.46948355771509376</c:v>
                </c:pt>
                <c:pt idx="826">
                  <c:v>0.4668423373196948</c:v>
                </c:pt>
                <c:pt idx="827">
                  <c:v>0.48268024692412514</c:v>
                </c:pt>
                <c:pt idx="828">
                  <c:v>0.5064285469419179</c:v>
                </c:pt>
                <c:pt idx="829">
                  <c:v>0.520897026056484</c:v>
                </c:pt>
                <c:pt idx="830">
                  <c:v>0.5215751043565524</c:v>
                </c:pt>
                <c:pt idx="831">
                  <c:v>0.5215751043565524</c:v>
                </c:pt>
                <c:pt idx="832">
                  <c:v>0.5215751043565524</c:v>
                </c:pt>
                <c:pt idx="833">
                  <c:v>0.5544058995287489</c:v>
                </c:pt>
                <c:pt idx="834">
                  <c:v>0.5648624614415143</c:v>
                </c:pt>
                <c:pt idx="835">
                  <c:v>0.5512321568971501</c:v>
                </c:pt>
                <c:pt idx="836">
                  <c:v>0.5813753932524517</c:v>
                </c:pt>
                <c:pt idx="837">
                  <c:v>0.5846395989893138</c:v>
                </c:pt>
                <c:pt idx="838">
                  <c:v>0.5846395989893138</c:v>
                </c:pt>
                <c:pt idx="839">
                  <c:v>0.5846395989893138</c:v>
                </c:pt>
                <c:pt idx="840">
                  <c:v>0.5914273603284743</c:v>
                </c:pt>
                <c:pt idx="841">
                  <c:v>0.5991344580750244</c:v>
                </c:pt>
                <c:pt idx="842">
                  <c:v>0.6047738677431846</c:v>
                </c:pt>
                <c:pt idx="843">
                  <c:v>0.6100458302616854</c:v>
                </c:pt>
                <c:pt idx="844">
                  <c:v>0.62555783552194</c:v>
                </c:pt>
                <c:pt idx="845">
                  <c:v>0.62555783552194</c:v>
                </c:pt>
                <c:pt idx="846">
                  <c:v>0.62555783552194</c:v>
                </c:pt>
                <c:pt idx="847">
                  <c:v>0.6234672485997865</c:v>
                </c:pt>
                <c:pt idx="848">
                  <c:v>0.6110460403886049</c:v>
                </c:pt>
                <c:pt idx="849">
                  <c:v>0.5935932906180139</c:v>
                </c:pt>
                <c:pt idx="850">
                  <c:v>0.5930190037170324</c:v>
                </c:pt>
                <c:pt idx="851">
                  <c:v>0.5957487820080984</c:v>
                </c:pt>
                <c:pt idx="852">
                  <c:v>0.5957487820080984</c:v>
                </c:pt>
                <c:pt idx="853">
                  <c:v>0.5957487820080984</c:v>
                </c:pt>
                <c:pt idx="854">
                  <c:v>0.6121183418239284</c:v>
                </c:pt>
                <c:pt idx="855">
                  <c:v>0.6181768056363042</c:v>
                </c:pt>
                <c:pt idx="856">
                  <c:v>0.6272264206162335</c:v>
                </c:pt>
                <c:pt idx="857">
                  <c:v>0.6300325106463176</c:v>
                </c:pt>
                <c:pt idx="858">
                  <c:v>0.6400026135547012</c:v>
                </c:pt>
                <c:pt idx="859">
                  <c:v>0.6400026135547012</c:v>
                </c:pt>
                <c:pt idx="860">
                  <c:v>0.6400026135547012</c:v>
                </c:pt>
                <c:pt idx="861">
                  <c:v>0.6374941699036587</c:v>
                </c:pt>
                <c:pt idx="862">
                  <c:v>0.62628256648593</c:v>
                </c:pt>
                <c:pt idx="863">
                  <c:v>0.623009709803432</c:v>
                </c:pt>
                <c:pt idx="864">
                  <c:v>0.6363350224048212</c:v>
                </c:pt>
                <c:pt idx="865">
                  <c:v>0.6584923240133782</c:v>
                </c:pt>
                <c:pt idx="866">
                  <c:v>0.6584923240133782</c:v>
                </c:pt>
                <c:pt idx="867">
                  <c:v>0.6584923240133782</c:v>
                </c:pt>
                <c:pt idx="868">
                  <c:v>0.6635837315244635</c:v>
                </c:pt>
                <c:pt idx="869">
                  <c:v>0.6721850575069099</c:v>
                </c:pt>
                <c:pt idx="870">
                  <c:v>0.6825836231754359</c:v>
                </c:pt>
                <c:pt idx="871">
                  <c:v>0.6996070279664697</c:v>
                </c:pt>
                <c:pt idx="872">
                  <c:v>0.7083324472446828</c:v>
                </c:pt>
                <c:pt idx="873">
                  <c:v>0.7083324472446828</c:v>
                </c:pt>
                <c:pt idx="874">
                  <c:v>0.7083324472446828</c:v>
                </c:pt>
                <c:pt idx="875">
                  <c:v>0.7255505571379055</c:v>
                </c:pt>
                <c:pt idx="876">
                  <c:v>0.7279685746776212</c:v>
                </c:pt>
                <c:pt idx="877">
                  <c:v>0.7094013446658229</c:v>
                </c:pt>
                <c:pt idx="878">
                  <c:v>0.7277435539391075</c:v>
                </c:pt>
                <c:pt idx="879">
                  <c:v>0.7437629861933441</c:v>
                </c:pt>
                <c:pt idx="880">
                  <c:v>0.7437629861933441</c:v>
                </c:pt>
                <c:pt idx="881">
                  <c:v>0.7437629861933441</c:v>
                </c:pt>
                <c:pt idx="882">
                  <c:v>0.753546422436465</c:v>
                </c:pt>
                <c:pt idx="883">
                  <c:v>0.746412966050529</c:v>
                </c:pt>
                <c:pt idx="884">
                  <c:v>0.7512697735209697</c:v>
                </c:pt>
                <c:pt idx="885">
                  <c:v>0.7403725232522052</c:v>
                </c:pt>
                <c:pt idx="886">
                  <c:v>0.7502184540340884</c:v>
                </c:pt>
                <c:pt idx="887">
                  <c:v>0.7502184540340884</c:v>
                </c:pt>
                <c:pt idx="888">
                  <c:v>0.7502184540340884</c:v>
                </c:pt>
                <c:pt idx="889">
                  <c:v>0.749890926260081</c:v>
                </c:pt>
                <c:pt idx="890">
                  <c:v>0.7234852871940516</c:v>
                </c:pt>
                <c:pt idx="891">
                  <c:v>0.7362291600596451</c:v>
                </c:pt>
                <c:pt idx="892">
                  <c:v>0.746922836149319</c:v>
                </c:pt>
                <c:pt idx="893">
                  <c:v>0.7125066505876338</c:v>
                </c:pt>
                <c:pt idx="894">
                  <c:v>0.7125066505876338</c:v>
                </c:pt>
                <c:pt idx="895">
                  <c:v>0.7125066505876338</c:v>
                </c:pt>
                <c:pt idx="896">
                  <c:v>0.6106677992088423</c:v>
                </c:pt>
                <c:pt idx="897">
                  <c:v>0.4838406812739877</c:v>
                </c:pt>
                <c:pt idx="898">
                  <c:v>0.47485508005242316</c:v>
                </c:pt>
                <c:pt idx="899">
                  <c:v>0.5067525100051022</c:v>
                </c:pt>
                <c:pt idx="900">
                  <c:v>0.5079266855152302</c:v>
                </c:pt>
                <c:pt idx="901">
                  <c:v>0.5079266855152302</c:v>
                </c:pt>
                <c:pt idx="902">
                  <c:v>0.5079266855152302</c:v>
                </c:pt>
                <c:pt idx="903">
                  <c:v>0.5118610059286874</c:v>
                </c:pt>
                <c:pt idx="904">
                  <c:v>0.5158449296921344</c:v>
                </c:pt>
                <c:pt idx="905">
                  <c:v>0.524136467664942</c:v>
                </c:pt>
                <c:pt idx="906">
                  <c:v>0.5289537021604696</c:v>
                </c:pt>
                <c:pt idx="907">
                  <c:v>0.5709780894261045</c:v>
                </c:pt>
                <c:pt idx="908">
                  <c:v>0.5709780894261045</c:v>
                </c:pt>
                <c:pt idx="909">
                  <c:v>0.5709780894261045</c:v>
                </c:pt>
                <c:pt idx="910">
                  <c:v>0.5627737935715633</c:v>
                </c:pt>
                <c:pt idx="911">
                  <c:v>0.5623988028136653</c:v>
                </c:pt>
                <c:pt idx="912">
                  <c:v>0.5844090169824685</c:v>
                </c:pt>
                <c:pt idx="913">
                  <c:v>0.6071417483051302</c:v>
                </c:pt>
                <c:pt idx="914">
                  <c:v>0.6090538191289443</c:v>
                </c:pt>
                <c:pt idx="915">
                  <c:v>0.6090538191289443</c:v>
                </c:pt>
                <c:pt idx="916">
                  <c:v>0.6090538191289443</c:v>
                </c:pt>
                <c:pt idx="917">
                  <c:v>0.6106609580922064</c:v>
                </c:pt>
                <c:pt idx="918">
                  <c:v>0.6430818414648551</c:v>
                </c:pt>
                <c:pt idx="919">
                  <c:v>0.6570302814797062</c:v>
                </c:pt>
                <c:pt idx="920">
                  <c:v>0.6574204297370188</c:v>
                </c:pt>
                <c:pt idx="921">
                  <c:v>0.6612934074480374</c:v>
                </c:pt>
                <c:pt idx="922">
                  <c:v>0.6612934074480374</c:v>
                </c:pt>
                <c:pt idx="923">
                  <c:v>0.6612934074480374</c:v>
                </c:pt>
                <c:pt idx="924">
                  <c:v>0.679829866553318</c:v>
                </c:pt>
                <c:pt idx="925">
                  <c:v>0.7214436045116406</c:v>
                </c:pt>
                <c:pt idx="926">
                  <c:v>0.7467113366220266</c:v>
                </c:pt>
                <c:pt idx="927">
                  <c:v>0.7591388318804027</c:v>
                </c:pt>
                <c:pt idx="928">
                  <c:v>0.7733571856318242</c:v>
                </c:pt>
                <c:pt idx="929">
                  <c:v>0.7733571856318242</c:v>
                </c:pt>
                <c:pt idx="930">
                  <c:v>0.7733571856318242</c:v>
                </c:pt>
                <c:pt idx="931">
                  <c:v>0.7721154301065241</c:v>
                </c:pt>
                <c:pt idx="932">
                  <c:v>0.8111791705881335</c:v>
                </c:pt>
                <c:pt idx="933">
                  <c:v>0.7330492527093195</c:v>
                </c:pt>
                <c:pt idx="934">
                  <c:v>0.7190357103306526</c:v>
                </c:pt>
                <c:pt idx="935">
                  <c:v>0.689260232378808</c:v>
                </c:pt>
                <c:pt idx="936">
                  <c:v>0.689260232378808</c:v>
                </c:pt>
                <c:pt idx="937">
                  <c:v>0.689260232378808</c:v>
                </c:pt>
                <c:pt idx="938">
                  <c:v>0.6992679223132414</c:v>
                </c:pt>
                <c:pt idx="939">
                  <c:v>0.6907410840826071</c:v>
                </c:pt>
                <c:pt idx="940">
                  <c:v>0.6779611415237046</c:v>
                </c:pt>
                <c:pt idx="941">
                  <c:v>0.6533004384125876</c:v>
                </c:pt>
                <c:pt idx="942">
                  <c:v>0.6705009078314221</c:v>
                </c:pt>
                <c:pt idx="943">
                  <c:v>0.6705009078314221</c:v>
                </c:pt>
                <c:pt idx="944">
                  <c:v>0.6705009078314221</c:v>
                </c:pt>
                <c:pt idx="945">
                  <c:v>0.6666366232138525</c:v>
                </c:pt>
                <c:pt idx="946">
                  <c:v>0.6654486331154936</c:v>
                </c:pt>
                <c:pt idx="947">
                  <c:v>0.6609022011536307</c:v>
                </c:pt>
                <c:pt idx="948">
                  <c:v>0.6725420819069725</c:v>
                </c:pt>
                <c:pt idx="949">
                  <c:v>0.6584595763731089</c:v>
                </c:pt>
                <c:pt idx="950">
                  <c:v>0.6584595763731089</c:v>
                </c:pt>
                <c:pt idx="951">
                  <c:v>0.6584595763731089</c:v>
                </c:pt>
                <c:pt idx="952">
                  <c:v>0.6382762025934019</c:v>
                </c:pt>
                <c:pt idx="953">
                  <c:v>0.6392087905977215</c:v>
                </c:pt>
                <c:pt idx="954">
                  <c:v>0.6332495805239196</c:v>
                </c:pt>
                <c:pt idx="955">
                  <c:v>0.640308772446718</c:v>
                </c:pt>
                <c:pt idx="956">
                  <c:v>0.6539383473778271</c:v>
                </c:pt>
                <c:pt idx="957">
                  <c:v>0.6539383473778271</c:v>
                </c:pt>
                <c:pt idx="958">
                  <c:v>0.6539383473778271</c:v>
                </c:pt>
                <c:pt idx="959">
                  <c:v>0.673703509942474</c:v>
                </c:pt>
                <c:pt idx="960">
                  <c:v>0.7074741992847953</c:v>
                </c:pt>
                <c:pt idx="961">
                  <c:v>0.7063298932285429</c:v>
                </c:pt>
                <c:pt idx="962">
                  <c:v>0.7198744344005965</c:v>
                </c:pt>
                <c:pt idx="963">
                  <c:v>0.7490306325270077</c:v>
                </c:pt>
                <c:pt idx="964">
                  <c:v>0.7490306325270077</c:v>
                </c:pt>
                <c:pt idx="965">
                  <c:v>0.7490306325270077</c:v>
                </c:pt>
                <c:pt idx="966">
                  <c:v>0.772622057425081</c:v>
                </c:pt>
                <c:pt idx="967">
                  <c:v>0.7510028576733754</c:v>
                </c:pt>
                <c:pt idx="968">
                  <c:v>0.755765030678275</c:v>
                </c:pt>
                <c:pt idx="969">
                  <c:v>0.7767606936339024</c:v>
                </c:pt>
                <c:pt idx="970">
                  <c:v>0.8068357639616817</c:v>
                </c:pt>
                <c:pt idx="971">
                  <c:v>0.8068357639616817</c:v>
                </c:pt>
                <c:pt idx="972">
                  <c:v>0.8068357639616817</c:v>
                </c:pt>
                <c:pt idx="973">
                  <c:v>0.8227868538388148</c:v>
                </c:pt>
                <c:pt idx="974">
                  <c:v>0.8401967466016653</c:v>
                </c:pt>
                <c:pt idx="975">
                  <c:v>0.8343356894160103</c:v>
                </c:pt>
                <c:pt idx="976">
                  <c:v>0.8608785185242782</c:v>
                </c:pt>
                <c:pt idx="977">
                  <c:v>0.8665556320537267</c:v>
                </c:pt>
                <c:pt idx="978">
                  <c:v>0.8665556320537267</c:v>
                </c:pt>
                <c:pt idx="979">
                  <c:v>0.8665556320537267</c:v>
                </c:pt>
                <c:pt idx="980">
                  <c:v>0.8688923037888403</c:v>
                </c:pt>
                <c:pt idx="981">
                  <c:v>0.7638946095357362</c:v>
                </c:pt>
                <c:pt idx="982">
                  <c:v>0.7357569047107175</c:v>
                </c:pt>
                <c:pt idx="983">
                  <c:v>0.7737697269869772</c:v>
                </c:pt>
                <c:pt idx="984">
                  <c:v>0.7538400405636085</c:v>
                </c:pt>
                <c:pt idx="985">
                  <c:v>0.7538400405636085</c:v>
                </c:pt>
                <c:pt idx="986">
                  <c:v>0.7538400405636085</c:v>
                </c:pt>
                <c:pt idx="987">
                  <c:v>0.7629923622610832</c:v>
                </c:pt>
                <c:pt idx="988">
                  <c:v>0.7952574808229704</c:v>
                </c:pt>
                <c:pt idx="989">
                  <c:v>0.7853213521599209</c:v>
                </c:pt>
                <c:pt idx="990">
                  <c:v>0.7913952494407319</c:v>
                </c:pt>
                <c:pt idx="991">
                  <c:v>0.8297547031898742</c:v>
                </c:pt>
                <c:pt idx="992">
                  <c:v>0.8297547031898742</c:v>
                </c:pt>
                <c:pt idx="993">
                  <c:v>0.8297547031898742</c:v>
                </c:pt>
                <c:pt idx="994">
                  <c:v>0.8424015875396553</c:v>
                </c:pt>
                <c:pt idx="995">
                  <c:v>0.8509957053568884</c:v>
                </c:pt>
                <c:pt idx="996">
                  <c:v>0.8460617832239248</c:v>
                </c:pt>
                <c:pt idx="997">
                  <c:v>0.856847085951977</c:v>
                </c:pt>
                <c:pt idx="998">
                  <c:v>0.8677911613650413</c:v>
                </c:pt>
                <c:pt idx="999">
                  <c:v>0.8677911613650413</c:v>
                </c:pt>
                <c:pt idx="1000">
                  <c:v>0.8677911613650413</c:v>
                </c:pt>
                <c:pt idx="1001">
                  <c:v>0.7735627649420906</c:v>
                </c:pt>
                <c:pt idx="1002">
                  <c:v>0.7878783846726098</c:v>
                </c:pt>
                <c:pt idx="1003">
                  <c:v>0.8197895152399763</c:v>
                </c:pt>
                <c:pt idx="1004">
                  <c:v>0.83034210956652</c:v>
                </c:pt>
                <c:pt idx="1005">
                  <c:v>0.8177403158542522</c:v>
                </c:pt>
                <c:pt idx="1006">
                  <c:v>0.8177403158542522</c:v>
                </c:pt>
                <c:pt idx="1007">
                  <c:v>0.8177403158542522</c:v>
                </c:pt>
                <c:pt idx="1008">
                  <c:v>0.8447930785545374</c:v>
                </c:pt>
                <c:pt idx="1009">
                  <c:v>0.8328939415577772</c:v>
                </c:pt>
                <c:pt idx="1010">
                  <c:v>0.8421821237855933</c:v>
                </c:pt>
                <c:pt idx="1011">
                  <c:v>0.8512792803489326</c:v>
                </c:pt>
                <c:pt idx="1012">
                  <c:v>0.8414423794215651</c:v>
                </c:pt>
                <c:pt idx="1013">
                  <c:v>0.8414423794215651</c:v>
                </c:pt>
                <c:pt idx="1014">
                  <c:v>0.8414423794215651</c:v>
                </c:pt>
                <c:pt idx="1015">
                  <c:v>0.8334273351362176</c:v>
                </c:pt>
                <c:pt idx="1016">
                  <c:v>0.8174767917179142</c:v>
                </c:pt>
                <c:pt idx="1017">
                  <c:v>0.8181463430538993</c:v>
                </c:pt>
                <c:pt idx="1018">
                  <c:v>0.7937081979482401</c:v>
                </c:pt>
                <c:pt idx="1019">
                  <c:v>0.7820421067310082</c:v>
                </c:pt>
                <c:pt idx="1020">
                  <c:v>0.7820421067310082</c:v>
                </c:pt>
                <c:pt idx="1021">
                  <c:v>0.7820421067310082</c:v>
                </c:pt>
                <c:pt idx="1022">
                  <c:v>0.7821808108882797</c:v>
                </c:pt>
                <c:pt idx="1023">
                  <c:v>0.7893958958741891</c:v>
                </c:pt>
                <c:pt idx="1024">
                  <c:v>0.8092332838371548</c:v>
                </c:pt>
                <c:pt idx="1025">
                  <c:v>0.8183725731861538</c:v>
                </c:pt>
                <c:pt idx="1026">
                  <c:v>0.8046170654254465</c:v>
                </c:pt>
                <c:pt idx="1027">
                  <c:v>0.8046170654254465</c:v>
                </c:pt>
                <c:pt idx="1028">
                  <c:v>0.8046170654254465</c:v>
                </c:pt>
                <c:pt idx="1029">
                  <c:v>0.6857555320252926</c:v>
                </c:pt>
                <c:pt idx="1030">
                  <c:v>0.692838634908125</c:v>
                </c:pt>
                <c:pt idx="1031">
                  <c:v>0.7136777728250301</c:v>
                </c:pt>
                <c:pt idx="1032">
                  <c:v>0.7226660965543328</c:v>
                </c:pt>
                <c:pt idx="1033">
                  <c:v>0.7424222997549563</c:v>
                </c:pt>
                <c:pt idx="1034">
                  <c:v>0.7424222997549563</c:v>
                </c:pt>
                <c:pt idx="1035">
                  <c:v>0.7424222997549563</c:v>
                </c:pt>
                <c:pt idx="1036">
                  <c:v>0.7557910471766347</c:v>
                </c:pt>
                <c:pt idx="1037">
                  <c:v>0.7614738759807906</c:v>
                </c:pt>
                <c:pt idx="1038">
                  <c:v>0.7873670892059517</c:v>
                </c:pt>
                <c:pt idx="1039">
                  <c:v>0.8257749065535085</c:v>
                </c:pt>
                <c:pt idx="1040">
                  <c:v>0.8392224116377354</c:v>
                </c:pt>
                <c:pt idx="1041">
                  <c:v>0.8392224116377354</c:v>
                </c:pt>
                <c:pt idx="1042">
                  <c:v>0.8392224116377354</c:v>
                </c:pt>
                <c:pt idx="1043">
                  <c:v>0.846598159106762</c:v>
                </c:pt>
                <c:pt idx="1044">
                  <c:v>0.8651883219320353</c:v>
                </c:pt>
                <c:pt idx="1045">
                  <c:v>0.8601126016130021</c:v>
                </c:pt>
                <c:pt idx="1046">
                  <c:v>0.8576108625544121</c:v>
                </c:pt>
                <c:pt idx="1047">
                  <c:v>0.8714455758872228</c:v>
                </c:pt>
                <c:pt idx="1048">
                  <c:v>0.8714455758872228</c:v>
                </c:pt>
                <c:pt idx="1049">
                  <c:v>0.8714455758872228</c:v>
                </c:pt>
                <c:pt idx="1050">
                  <c:v>0.8256397727528975</c:v>
                </c:pt>
                <c:pt idx="1051">
                  <c:v>0.848828317656044</c:v>
                </c:pt>
                <c:pt idx="1052">
                  <c:v>0.8109318597373016</c:v>
                </c:pt>
                <c:pt idx="1053">
                  <c:v>0.8117287632304027</c:v>
                </c:pt>
                <c:pt idx="1054">
                  <c:v>0.8372727131726541</c:v>
                </c:pt>
                <c:pt idx="1055">
                  <c:v>0.8372727131726541</c:v>
                </c:pt>
                <c:pt idx="1056">
                  <c:v>0.8372727131726541</c:v>
                </c:pt>
                <c:pt idx="1057">
                  <c:v>0.8367298584920437</c:v>
                </c:pt>
                <c:pt idx="1058">
                  <c:v>0.8342586590324146</c:v>
                </c:pt>
                <c:pt idx="1059">
                  <c:v>0.882271849705355</c:v>
                </c:pt>
                <c:pt idx="1060">
                  <c:v>0.8229710522491855</c:v>
                </c:pt>
                <c:pt idx="1061">
                  <c:v>0.7762442429654561</c:v>
                </c:pt>
                <c:pt idx="1062">
                  <c:v>0.7762442429654561</c:v>
                </c:pt>
                <c:pt idx="1063">
                  <c:v>0.7762442429654561</c:v>
                </c:pt>
                <c:pt idx="1064">
                  <c:v>0.7155694041031537</c:v>
                </c:pt>
                <c:pt idx="1065">
                  <c:v>0.742619006784377</c:v>
                </c:pt>
                <c:pt idx="1066">
                  <c:v>0.7470153274248985</c:v>
                </c:pt>
                <c:pt idx="1067">
                  <c:v>0.778797213545499</c:v>
                </c:pt>
                <c:pt idx="1068">
                  <c:v>0.7979039146332747</c:v>
                </c:pt>
                <c:pt idx="1069">
                  <c:v>0.7979039146332747</c:v>
                </c:pt>
                <c:pt idx="1070">
                  <c:v>0.7979039146332747</c:v>
                </c:pt>
                <c:pt idx="1071">
                  <c:v>0.8012161788263694</c:v>
                </c:pt>
                <c:pt idx="1072">
                  <c:v>0.8345060152724719</c:v>
                </c:pt>
                <c:pt idx="1073">
                  <c:v>0.834969393620606</c:v>
                </c:pt>
                <c:pt idx="1074">
                  <c:v>0.8717812173154029</c:v>
                </c:pt>
                <c:pt idx="1075">
                  <c:v>0.8883946018081577</c:v>
                </c:pt>
                <c:pt idx="1076">
                  <c:v>0.8883946018081577</c:v>
                </c:pt>
                <c:pt idx="1077">
                  <c:v>0.8883946018081577</c:v>
                </c:pt>
                <c:pt idx="1078">
                  <c:v>0.8900531392061859</c:v>
                </c:pt>
                <c:pt idx="1079">
                  <c:v>0.8528093389220748</c:v>
                </c:pt>
                <c:pt idx="1080">
                  <c:v>0.864862123480157</c:v>
                </c:pt>
                <c:pt idx="1081">
                  <c:v>0.8689104339558078</c:v>
                </c:pt>
                <c:pt idx="1082">
                  <c:v>0.8995697361794299</c:v>
                </c:pt>
                <c:pt idx="1083">
                  <c:v>0.8995697361794299</c:v>
                </c:pt>
                <c:pt idx="1084">
                  <c:v>0.8995697361794299</c:v>
                </c:pt>
                <c:pt idx="1085">
                  <c:v>0.8928007801946054</c:v>
                </c:pt>
                <c:pt idx="1086">
                  <c:v>0.9151436462334064</c:v>
                </c:pt>
                <c:pt idx="1087">
                  <c:v>0.9025265083919696</c:v>
                </c:pt>
                <c:pt idx="1088">
                  <c:v>0.8793183369486695</c:v>
                </c:pt>
                <c:pt idx="1089">
                  <c:v>0.9047040302525957</c:v>
                </c:pt>
                <c:pt idx="1090">
                  <c:v>0.9047040302525957</c:v>
                </c:pt>
                <c:pt idx="1091">
                  <c:v>0.9047040302525957</c:v>
                </c:pt>
                <c:pt idx="1092">
                  <c:v>0.9058496053699197</c:v>
                </c:pt>
                <c:pt idx="1093">
                  <c:v>0.8755115653130898</c:v>
                </c:pt>
                <c:pt idx="1094">
                  <c:v>0.8677247889350019</c:v>
                </c:pt>
                <c:pt idx="1095">
                  <c:v>0.8718307646977457</c:v>
                </c:pt>
                <c:pt idx="1096">
                  <c:v>0.8425068150944512</c:v>
                </c:pt>
                <c:pt idx="1097">
                  <c:v>0.8425068150944512</c:v>
                </c:pt>
                <c:pt idx="1098">
                  <c:v>0.8425068150944512</c:v>
                </c:pt>
                <c:pt idx="1099">
                  <c:v>0.8623558307487529</c:v>
                </c:pt>
                <c:pt idx="1100">
                  <c:v>0.8633932027006579</c:v>
                </c:pt>
                <c:pt idx="1101">
                  <c:v>0.889700206449167</c:v>
                </c:pt>
                <c:pt idx="1102">
                  <c:v>0.9058503444625552</c:v>
                </c:pt>
                <c:pt idx="1103">
                  <c:v>0.905824186146351</c:v>
                </c:pt>
                <c:pt idx="1104">
                  <c:v>0.905824186146351</c:v>
                </c:pt>
                <c:pt idx="1105">
                  <c:v>0.905824186146351</c:v>
                </c:pt>
                <c:pt idx="1106">
                  <c:v>0.9143004038228817</c:v>
                </c:pt>
                <c:pt idx="1107">
                  <c:v>0.9215645823129472</c:v>
                </c:pt>
                <c:pt idx="1108">
                  <c:v>0.9183798177428519</c:v>
                </c:pt>
                <c:pt idx="1109">
                  <c:v>0.9535926965682313</c:v>
                </c:pt>
                <c:pt idx="1110">
                  <c:v>0.9148826758298074</c:v>
                </c:pt>
                <c:pt idx="1111">
                  <c:v>0.9148826758298074</c:v>
                </c:pt>
                <c:pt idx="1112">
                  <c:v>0.9148826758298074</c:v>
                </c:pt>
                <c:pt idx="1113">
                  <c:v>0.9495826106518945</c:v>
                </c:pt>
                <c:pt idx="1114">
                  <c:v>0.968384919268086</c:v>
                </c:pt>
                <c:pt idx="1115">
                  <c:v>0.9621010972330368</c:v>
                </c:pt>
                <c:pt idx="1116">
                  <c:v>0.993448873564611</c:v>
                </c:pt>
                <c:pt idx="1117">
                  <c:v>0.9640305193019676</c:v>
                </c:pt>
                <c:pt idx="1118">
                  <c:v>0.9640305193019676</c:v>
                </c:pt>
                <c:pt idx="1119">
                  <c:v>0.9640305193019676</c:v>
                </c:pt>
                <c:pt idx="1120">
                  <c:v>0.972343381620848</c:v>
                </c:pt>
                <c:pt idx="1121">
                  <c:v>0.9619058392076631</c:v>
                </c:pt>
                <c:pt idx="1122">
                  <c:v>0.9466049886222101</c:v>
                </c:pt>
                <c:pt idx="1123">
                  <c:v>0.9340692695682549</c:v>
                </c:pt>
                <c:pt idx="1124">
                  <c:v>0.9677914810994519</c:v>
                </c:pt>
                <c:pt idx="1125">
                  <c:v>0.9677914810994519</c:v>
                </c:pt>
                <c:pt idx="1126">
                  <c:v>0.9677914810994519</c:v>
                </c:pt>
                <c:pt idx="1127">
                  <c:v>0.9580870087315687</c:v>
                </c:pt>
                <c:pt idx="1128">
                  <c:v>0.9675757906518951</c:v>
                </c:pt>
                <c:pt idx="1129">
                  <c:v>0.9786267203637109</c:v>
                </c:pt>
                <c:pt idx="1130">
                  <c:v>0.9689089296296871</c:v>
                </c:pt>
                <c:pt idx="1131">
                  <c:v>0.991134715334467</c:v>
                </c:pt>
                <c:pt idx="1132">
                  <c:v>0.991134715334467</c:v>
                </c:pt>
                <c:pt idx="1133">
                  <c:v>0.991134715334467</c:v>
                </c:pt>
                <c:pt idx="1134">
                  <c:v>0.988729333899955</c:v>
                </c:pt>
                <c:pt idx="1135">
                  <c:v>0.9709189358831598</c:v>
                </c:pt>
                <c:pt idx="1136">
                  <c:v>0.978923632794378</c:v>
                </c:pt>
                <c:pt idx="1137">
                  <c:v>0.987714238404801</c:v>
                </c:pt>
                <c:pt idx="1138">
                  <c:v>1.0037289365795767</c:v>
                </c:pt>
                <c:pt idx="1139">
                  <c:v>1.0037289365795767</c:v>
                </c:pt>
                <c:pt idx="1140">
                  <c:v>1.0037289365795767</c:v>
                </c:pt>
                <c:pt idx="1141">
                  <c:v>0.9850642718027627</c:v>
                </c:pt>
                <c:pt idx="1142">
                  <c:v>0.9935631288730629</c:v>
                </c:pt>
                <c:pt idx="1143">
                  <c:v>0.9691282600530597</c:v>
                </c:pt>
                <c:pt idx="1144">
                  <c:v>0.9694020283103149</c:v>
                </c:pt>
                <c:pt idx="1145">
                  <c:v>0.9722148764718235</c:v>
                </c:pt>
                <c:pt idx="1146">
                  <c:v>0.9722148764718235</c:v>
                </c:pt>
                <c:pt idx="1147">
                  <c:v>0.9722148764718235</c:v>
                </c:pt>
                <c:pt idx="1148">
                  <c:v>0.9770442166301223</c:v>
                </c:pt>
                <c:pt idx="1149">
                  <c:v>0.9818150211223269</c:v>
                </c:pt>
                <c:pt idx="1150">
                  <c:v>0.9743901199750957</c:v>
                </c:pt>
                <c:pt idx="1151">
                  <c:v>0.9460188077593001</c:v>
                </c:pt>
                <c:pt idx="1152">
                  <c:v>0.9617426437380099</c:v>
                </c:pt>
                <c:pt idx="1153">
                  <c:v>0.9617426437380099</c:v>
                </c:pt>
                <c:pt idx="1154">
                  <c:v>0.9617426437380099</c:v>
                </c:pt>
                <c:pt idx="1155">
                  <c:v>0.9637547154114718</c:v>
                </c:pt>
                <c:pt idx="1156">
                  <c:v>0.9904467068580396</c:v>
                </c:pt>
                <c:pt idx="1157">
                  <c:v>1.0246388328597549</c:v>
                </c:pt>
                <c:pt idx="1158">
                  <c:v>1.0563312420046405</c:v>
                </c:pt>
                <c:pt idx="1159">
                  <c:v>1.050366463735796</c:v>
                </c:pt>
                <c:pt idx="1160">
                  <c:v>1.050366463735796</c:v>
                </c:pt>
                <c:pt idx="1161">
                  <c:v>1.050366463735796</c:v>
                </c:pt>
                <c:pt idx="1162">
                  <c:v>1.074538258618165</c:v>
                </c:pt>
                <c:pt idx="1163">
                  <c:v>1.044221169061133</c:v>
                </c:pt>
                <c:pt idx="1164">
                  <c:v>1.044760171211776</c:v>
                </c:pt>
                <c:pt idx="1165">
                  <c:v>1.0452949268249738</c:v>
                </c:pt>
                <c:pt idx="1166">
                  <c:v>1.0297678632845466</c:v>
                </c:pt>
                <c:pt idx="1167">
                  <c:v>1.0297678632845466</c:v>
                </c:pt>
                <c:pt idx="1168">
                  <c:v>1.0297678632845466</c:v>
                </c:pt>
                <c:pt idx="1169">
                  <c:v>1.0485232937786777</c:v>
                </c:pt>
                <c:pt idx="1170">
                  <c:v>1.0477485591370406</c:v>
                </c:pt>
                <c:pt idx="1171">
                  <c:v>1.0609812694493654</c:v>
                </c:pt>
                <c:pt idx="1172">
                  <c:v>1.0724241806193597</c:v>
                </c:pt>
                <c:pt idx="1173">
                  <c:v>1.0720735747933636</c:v>
                </c:pt>
                <c:pt idx="1174">
                  <c:v>1.0720735747933636</c:v>
                </c:pt>
                <c:pt idx="1175">
                  <c:v>1.0720735747933636</c:v>
                </c:pt>
                <c:pt idx="1176">
                  <c:v>1.0825009212794798</c:v>
                </c:pt>
                <c:pt idx="1177">
                  <c:v>1.082843060053261</c:v>
                </c:pt>
                <c:pt idx="1178">
                  <c:v>1.0748056011593388</c:v>
                </c:pt>
                <c:pt idx="1179">
                  <c:v>1.0591682268165066</c:v>
                </c:pt>
                <c:pt idx="1180">
                  <c:v>1.0489762715983013</c:v>
                </c:pt>
                <c:pt idx="1181">
                  <c:v>1.0489762715983013</c:v>
                </c:pt>
                <c:pt idx="1182">
                  <c:v>1.0489762715983013</c:v>
                </c:pt>
                <c:pt idx="1183">
                  <c:v>1.0460583951081261</c:v>
                </c:pt>
                <c:pt idx="1184">
                  <c:v>1.052690089942629</c:v>
                </c:pt>
                <c:pt idx="1185">
                  <c:v>1.0735302829802635</c:v>
                </c:pt>
                <c:pt idx="1186">
                  <c:v>1.0785812216092143</c:v>
                </c:pt>
                <c:pt idx="1187">
                  <c:v>1.0811027265696866</c:v>
                </c:pt>
                <c:pt idx="1188">
                  <c:v>1.0811027265696866</c:v>
                </c:pt>
                <c:pt idx="1189">
                  <c:v>1.0811027265696866</c:v>
                </c:pt>
                <c:pt idx="1190">
                  <c:v>1.0894356877496314</c:v>
                </c:pt>
                <c:pt idx="1191">
                  <c:v>1.0808609416592243</c:v>
                </c:pt>
                <c:pt idx="1192">
                  <c:v>1.112938482395875</c:v>
                </c:pt>
                <c:pt idx="1193">
                  <c:v>1.0962718171613992</c:v>
                </c:pt>
                <c:pt idx="1194">
                  <c:v>1.1051945079187524</c:v>
                </c:pt>
                <c:pt idx="1195">
                  <c:v>1.1051945079187524</c:v>
                </c:pt>
                <c:pt idx="1196">
                  <c:v>1.1051945079187524</c:v>
                </c:pt>
                <c:pt idx="1197">
                  <c:v>1.1062767132872118</c:v>
                </c:pt>
                <c:pt idx="1198">
                  <c:v>1.106235747053843</c:v>
                </c:pt>
                <c:pt idx="1199">
                  <c:v>1.044921339347269</c:v>
                </c:pt>
                <c:pt idx="1200">
                  <c:v>1.0415363100976638</c:v>
                </c:pt>
                <c:pt idx="1201">
                  <c:v>1.0578425477374562</c:v>
                </c:pt>
                <c:pt idx="1202">
                  <c:v>1.0578425477374562</c:v>
                </c:pt>
                <c:pt idx="1203">
                  <c:v>1.0578425477374562</c:v>
                </c:pt>
                <c:pt idx="1204">
                  <c:v>1.0618793822375188</c:v>
                </c:pt>
                <c:pt idx="1205">
                  <c:v>1.090007999825366</c:v>
                </c:pt>
                <c:pt idx="1206">
                  <c:v>1.0863686591803883</c:v>
                </c:pt>
                <c:pt idx="1207">
                  <c:v>1.0881095098663751</c:v>
                </c:pt>
                <c:pt idx="1208">
                  <c:v>1.0701881237506896</c:v>
                </c:pt>
                <c:pt idx="1209">
                  <c:v>1.0701881237506896</c:v>
                </c:pt>
                <c:pt idx="1210">
                  <c:v>1.0701881237506896</c:v>
                </c:pt>
                <c:pt idx="1211">
                  <c:v>1.0584203833549615</c:v>
                </c:pt>
                <c:pt idx="1212">
                  <c:v>1.0583369670892626</c:v>
                </c:pt>
                <c:pt idx="1213">
                  <c:v>1.0583369670892626</c:v>
                </c:pt>
                <c:pt idx="1214">
                  <c:v>1.0543078166041107</c:v>
                </c:pt>
                <c:pt idx="1215">
                  <c:v>1.0752455603020676</c:v>
                </c:pt>
                <c:pt idx="1216">
                  <c:v>1.0752455603020676</c:v>
                </c:pt>
                <c:pt idx="1217">
                  <c:v>1.0752455603020676</c:v>
                </c:pt>
                <c:pt idx="1218">
                  <c:v>1.0879055746619786</c:v>
                </c:pt>
                <c:pt idx="1219">
                  <c:v>1.0768748729164326</c:v>
                </c:pt>
                <c:pt idx="1220">
                  <c:v>1.0890500057442747</c:v>
                </c:pt>
                <c:pt idx="1221">
                  <c:v>1.0828776186026823</c:v>
                </c:pt>
                <c:pt idx="1222">
                  <c:v>1.0341828829329671</c:v>
                </c:pt>
                <c:pt idx="1223">
                  <c:v>1.0341828829329671</c:v>
                </c:pt>
                <c:pt idx="1224">
                  <c:v>1.0341828829329671</c:v>
                </c:pt>
                <c:pt idx="1225">
                  <c:v>1.0318136181537128</c:v>
                </c:pt>
                <c:pt idx="1226">
                  <c:v>1.0220522412761572</c:v>
                </c:pt>
                <c:pt idx="1227">
                  <c:v>1.071623637585423</c:v>
                </c:pt>
                <c:pt idx="1228">
                  <c:v>1.072747613496705</c:v>
                </c:pt>
                <c:pt idx="1229">
                  <c:v>1.0920834093820964</c:v>
                </c:pt>
                <c:pt idx="1230">
                  <c:v>1.0920834093820964</c:v>
                </c:pt>
                <c:pt idx="1231">
                  <c:v>1.0920834093820964</c:v>
                </c:pt>
                <c:pt idx="1232">
                  <c:v>1.0907107344773124</c:v>
                </c:pt>
                <c:pt idx="1233">
                  <c:v>1.1194353732417937</c:v>
                </c:pt>
                <c:pt idx="1234">
                  <c:v>1.12606569460198</c:v>
                </c:pt>
                <c:pt idx="1235">
                  <c:v>1.1420321800039548</c:v>
                </c:pt>
                <c:pt idx="1236">
                  <c:v>1.1388148504041768</c:v>
                </c:pt>
                <c:pt idx="1237">
                  <c:v>1.1388148504041768</c:v>
                </c:pt>
                <c:pt idx="1238">
                  <c:v>1.1388148504041768</c:v>
                </c:pt>
                <c:pt idx="1239">
                  <c:v>1.1043904699667606</c:v>
                </c:pt>
                <c:pt idx="1240">
                  <c:v>1.1300045200212945</c:v>
                </c:pt>
                <c:pt idx="1241">
                  <c:v>1.1253630214380816</c:v>
                </c:pt>
                <c:pt idx="1242">
                  <c:v>1.1451581795680128</c:v>
                </c:pt>
                <c:pt idx="1243">
                  <c:v>1.1307208717660715</c:v>
                </c:pt>
                <c:pt idx="1244">
                  <c:v>1.1307208717660715</c:v>
                </c:pt>
                <c:pt idx="1245">
                  <c:v>1.1307208717660715</c:v>
                </c:pt>
                <c:pt idx="1246">
                  <c:v>1.1499662737882614</c:v>
                </c:pt>
                <c:pt idx="1247">
                  <c:v>1.123811263946648</c:v>
                </c:pt>
                <c:pt idx="1248">
                  <c:v>1.1575467321070811</c:v>
                </c:pt>
                <c:pt idx="1249">
                  <c:v>1.1581623017197038</c:v>
                </c:pt>
                <c:pt idx="1250">
                  <c:v>1.144560023291307</c:v>
                </c:pt>
                <c:pt idx="1251">
                  <c:v>1.144560023291307</c:v>
                </c:pt>
                <c:pt idx="1252">
                  <c:v>1.144560023291307</c:v>
                </c:pt>
                <c:pt idx="1253">
                  <c:v>1.1633639588014906</c:v>
                </c:pt>
                <c:pt idx="1254">
                  <c:v>1.1557408156994824</c:v>
                </c:pt>
                <c:pt idx="1255">
                  <c:v>1.1514513881257122</c:v>
                </c:pt>
                <c:pt idx="1256">
                  <c:v>1.1774060957772239</c:v>
                </c:pt>
                <c:pt idx="1257">
                  <c:v>1.18018233215252</c:v>
                </c:pt>
                <c:pt idx="1258">
                  <c:v>1.18018233215252</c:v>
                </c:pt>
                <c:pt idx="1259">
                  <c:v>1.18018233215252</c:v>
                </c:pt>
                <c:pt idx="1260">
                  <c:v>1.185920320311864</c:v>
                </c:pt>
                <c:pt idx="1261">
                  <c:v>1.1974634917428344</c:v>
                </c:pt>
                <c:pt idx="1262">
                  <c:v>1.1885057526354625</c:v>
                </c:pt>
                <c:pt idx="1263">
                  <c:v>1.1985772555109264</c:v>
                </c:pt>
                <c:pt idx="1264">
                  <c:v>1.1651987136588668</c:v>
                </c:pt>
                <c:pt idx="1265">
                  <c:v>1.1651987136588668</c:v>
                </c:pt>
                <c:pt idx="1266">
                  <c:v>1.1651987136588668</c:v>
                </c:pt>
                <c:pt idx="1267">
                  <c:v>1.1550725332080263</c:v>
                </c:pt>
                <c:pt idx="1268">
                  <c:v>1.1542335434644255</c:v>
                </c:pt>
                <c:pt idx="1269">
                  <c:v>1.1571760338428168</c:v>
                </c:pt>
                <c:pt idx="1270">
                  <c:v>1.1342561003628462</c:v>
                </c:pt>
                <c:pt idx="1271">
                  <c:v>1.1611569036390166</c:v>
                </c:pt>
                <c:pt idx="1272">
                  <c:v>1.1611569036390166</c:v>
                </c:pt>
                <c:pt idx="1273">
                  <c:v>1.1611569036390166</c:v>
                </c:pt>
                <c:pt idx="1274">
                  <c:v>1.1466121679197867</c:v>
                </c:pt>
                <c:pt idx="1275">
                  <c:v>1.1374107039224892</c:v>
                </c:pt>
                <c:pt idx="1276">
                  <c:v>1.1707167553831272</c:v>
                </c:pt>
                <c:pt idx="1277">
                  <c:v>1.1392705176602642</c:v>
                </c:pt>
                <c:pt idx="1278">
                  <c:v>1.1683502350518258</c:v>
                </c:pt>
                <c:pt idx="1279">
                  <c:v>1.1683502350518258</c:v>
                </c:pt>
                <c:pt idx="1280">
                  <c:v>1.1683502350518258</c:v>
                </c:pt>
                <c:pt idx="1281">
                  <c:v>1.0890458707595636</c:v>
                </c:pt>
                <c:pt idx="1282">
                  <c:v>1.0837892333327352</c:v>
                </c:pt>
                <c:pt idx="1283">
                  <c:v>1.0966410463943048</c:v>
                </c:pt>
                <c:pt idx="1284">
                  <c:v>1.0704921101449951</c:v>
                </c:pt>
                <c:pt idx="1285">
                  <c:v>1.1138532232185114</c:v>
                </c:pt>
                <c:pt idx="1286">
                  <c:v>1.1138532232185114</c:v>
                </c:pt>
                <c:pt idx="1287">
                  <c:v>1.1138532232185114</c:v>
                </c:pt>
                <c:pt idx="1288">
                  <c:v>1.1323495370958958</c:v>
                </c:pt>
                <c:pt idx="1289">
                  <c:v>1.1270847580162915</c:v>
                </c:pt>
                <c:pt idx="1290">
                  <c:v>1.146549103599293</c:v>
                </c:pt>
                <c:pt idx="1291">
                  <c:v>1.1405470844599974</c:v>
                </c:pt>
                <c:pt idx="1292">
                  <c:v>1.139196478972225</c:v>
                </c:pt>
                <c:pt idx="1293">
                  <c:v>1.139196478972225</c:v>
                </c:pt>
                <c:pt idx="1294">
                  <c:v>1.139196478972225</c:v>
                </c:pt>
                <c:pt idx="1295">
                  <c:v>1.1709072574760118</c:v>
                </c:pt>
                <c:pt idx="1296">
                  <c:v>1.1755137128856052</c:v>
                </c:pt>
                <c:pt idx="1297">
                  <c:v>1.1576128749498253</c:v>
                </c:pt>
                <c:pt idx="1298">
                  <c:v>1.1436238359618263</c:v>
                </c:pt>
                <c:pt idx="1299">
                  <c:v>1.1021335481076222</c:v>
                </c:pt>
                <c:pt idx="1300">
                  <c:v>1.1021335481076222</c:v>
                </c:pt>
                <c:pt idx="1301">
                  <c:v>1.1021335481076222</c:v>
                </c:pt>
                <c:pt idx="1302">
                  <c:v>1.0640074088564426</c:v>
                </c:pt>
                <c:pt idx="1303">
                  <c:v>1.0713141670018649</c:v>
                </c:pt>
                <c:pt idx="1304">
                  <c:v>1.075673160786622</c:v>
                </c:pt>
                <c:pt idx="1305">
                  <c:v>0.9804094766586355</c:v>
                </c:pt>
                <c:pt idx="1306">
                  <c:v>0.8531649786415179</c:v>
                </c:pt>
                <c:pt idx="1307">
                  <c:v>0.8531649786415179</c:v>
                </c:pt>
                <c:pt idx="1308">
                  <c:v>0.8531649786415179</c:v>
                </c:pt>
                <c:pt idx="1309">
                  <c:v>0.8432611187066872</c:v>
                </c:pt>
                <c:pt idx="1310">
                  <c:v>0.82497135880097</c:v>
                </c:pt>
                <c:pt idx="1311">
                  <c:v>0.9752625890168221</c:v>
                </c:pt>
                <c:pt idx="1312">
                  <c:v>0.9303310830769567</c:v>
                </c:pt>
                <c:pt idx="1313">
                  <c:v>0.9726576505928535</c:v>
                </c:pt>
                <c:pt idx="1314">
                  <c:v>0.9726576505928535</c:v>
                </c:pt>
                <c:pt idx="1315">
                  <c:v>0.9726576505928535</c:v>
                </c:pt>
                <c:pt idx="1316">
                  <c:v>1.0007898641747084</c:v>
                </c:pt>
                <c:pt idx="1317">
                  <c:v>1.0098087335073749</c:v>
                </c:pt>
                <c:pt idx="1318">
                  <c:v>0.9814902161361525</c:v>
                </c:pt>
                <c:pt idx="1319">
                  <c:v>0.990362824661829</c:v>
                </c:pt>
                <c:pt idx="1320">
                  <c:v>0.990362824661829</c:v>
                </c:pt>
                <c:pt idx="1321">
                  <c:v>0.990362824661829</c:v>
                </c:pt>
                <c:pt idx="1322">
                  <c:v>0.990362824661829</c:v>
                </c:pt>
                <c:pt idx="1323">
                  <c:v>0.95820262005644</c:v>
                </c:pt>
                <c:pt idx="1324">
                  <c:v>1.0077268156259174</c:v>
                </c:pt>
                <c:pt idx="1325">
                  <c:v>1.0332979974432956</c:v>
                </c:pt>
                <c:pt idx="1326">
                  <c:v>1.0630598735394834</c:v>
                </c:pt>
                <c:pt idx="1327">
                  <c:v>1.0554745977411852</c:v>
                </c:pt>
                <c:pt idx="1328">
                  <c:v>1.0554745977411852</c:v>
                </c:pt>
                <c:pt idx="1329">
                  <c:v>1.0554745977411852</c:v>
                </c:pt>
                <c:pt idx="1330">
                  <c:v>1.0460435289827141</c:v>
                </c:pt>
                <c:pt idx="1331">
                  <c:v>1.0570536837849707</c:v>
                </c:pt>
                <c:pt idx="1332">
                  <c:v>1.0596018117574477</c:v>
                </c:pt>
                <c:pt idx="1333">
                  <c:v>1.0561572875598393</c:v>
                </c:pt>
                <c:pt idx="1334">
                  <c:v>1.097908426738762</c:v>
                </c:pt>
                <c:pt idx="1335">
                  <c:v>1.097908426738762</c:v>
                </c:pt>
                <c:pt idx="1336">
                  <c:v>1.097908426738762</c:v>
                </c:pt>
                <c:pt idx="1337">
                  <c:v>1.0869940864567331</c:v>
                </c:pt>
                <c:pt idx="1338">
                  <c:v>1.0546056679656606</c:v>
                </c:pt>
                <c:pt idx="1339">
                  <c:v>1.0168577860297345</c:v>
                </c:pt>
                <c:pt idx="1340">
                  <c:v>1.0012699378774195</c:v>
                </c:pt>
                <c:pt idx="1341">
                  <c:v>0.9868705761738283</c:v>
                </c:pt>
                <c:pt idx="1342">
                  <c:v>0.9868705761738283</c:v>
                </c:pt>
                <c:pt idx="1343">
                  <c:v>0.9868705761738283</c:v>
                </c:pt>
                <c:pt idx="1344">
                  <c:v>1.0204465771269433</c:v>
                </c:pt>
                <c:pt idx="1345">
                  <c:v>1.02920413723629</c:v>
                </c:pt>
                <c:pt idx="1346">
                  <c:v>1.0471884001937033</c:v>
                </c:pt>
                <c:pt idx="1347">
                  <c:v>1.0714963459365197</c:v>
                </c:pt>
                <c:pt idx="1348">
                  <c:v>1.0865396686491686</c:v>
                </c:pt>
                <c:pt idx="1349">
                  <c:v>1.0865396686491686</c:v>
                </c:pt>
                <c:pt idx="1350">
                  <c:v>1.0865396686491686</c:v>
                </c:pt>
                <c:pt idx="1351">
                  <c:v>1.1079697765805947</c:v>
                </c:pt>
                <c:pt idx="1352">
                  <c:v>1.1108651239052971</c:v>
                </c:pt>
                <c:pt idx="1353">
                  <c:v>1.0934898890016975</c:v>
                </c:pt>
                <c:pt idx="1354">
                  <c:v>1.0998878943313648</c:v>
                </c:pt>
                <c:pt idx="1355">
                  <c:v>1.0973578000353572</c:v>
                </c:pt>
                <c:pt idx="1356">
                  <c:v>1.0973578000353572</c:v>
                </c:pt>
                <c:pt idx="1357">
                  <c:v>1.0973578000353572</c:v>
                </c:pt>
                <c:pt idx="1358">
                  <c:v>1.1020105973239223</c:v>
                </c:pt>
                <c:pt idx="1359">
                  <c:v>1.1624975376085795</c:v>
                </c:pt>
                <c:pt idx="1360">
                  <c:v>1.0999686901740438</c:v>
                </c:pt>
                <c:pt idx="1361">
                  <c:v>1.0615990012364662</c:v>
                </c:pt>
                <c:pt idx="1362">
                  <c:v>1.0656531736663006</c:v>
                </c:pt>
                <c:pt idx="1363">
                  <c:v>1.0656531736663006</c:v>
                </c:pt>
                <c:pt idx="1364">
                  <c:v>1.0656531736663006</c:v>
                </c:pt>
                <c:pt idx="1365">
                  <c:v>1.083047393181657</c:v>
                </c:pt>
                <c:pt idx="1366">
                  <c:v>1.1002032919892155</c:v>
                </c:pt>
                <c:pt idx="1367">
                  <c:v>1.120019339297715</c:v>
                </c:pt>
                <c:pt idx="1368">
                  <c:v>1.0276923245968232</c:v>
                </c:pt>
                <c:pt idx="1369">
                  <c:v>1.0641831031848556</c:v>
                </c:pt>
                <c:pt idx="1370">
                  <c:v>1.0641831031848556</c:v>
                </c:pt>
                <c:pt idx="1371">
                  <c:v>1.0641831031848556</c:v>
                </c:pt>
                <c:pt idx="1372">
                  <c:v>0.9667583193764537</c:v>
                </c:pt>
                <c:pt idx="1373">
                  <c:v>0.980800173667921</c:v>
                </c:pt>
                <c:pt idx="1374">
                  <c:v>0.9933363713090444</c:v>
                </c:pt>
                <c:pt idx="1375">
                  <c:v>0.9786059006679226</c:v>
                </c:pt>
                <c:pt idx="1376">
                  <c:v>0.938988721299066</c:v>
                </c:pt>
                <c:pt idx="1377">
                  <c:v>0.938988721299066</c:v>
                </c:pt>
                <c:pt idx="1378">
                  <c:v>0.938988721299066</c:v>
                </c:pt>
                <c:pt idx="1379">
                  <c:v>0.916054617679114</c:v>
                </c:pt>
                <c:pt idx="1380">
                  <c:v>0.9100517799450392</c:v>
                </c:pt>
                <c:pt idx="1381">
                  <c:v>0.918316856872279</c:v>
                </c:pt>
                <c:pt idx="1382">
                  <c:v>0.8890157816326982</c:v>
                </c:pt>
                <c:pt idx="1383">
                  <c:v>0.8365892115113447</c:v>
                </c:pt>
                <c:pt idx="1384">
                  <c:v>0.8365892115113447</c:v>
                </c:pt>
                <c:pt idx="1385">
                  <c:v>0.8365892115113447</c:v>
                </c:pt>
                <c:pt idx="1386">
                  <c:v>0.8304267000311871</c:v>
                </c:pt>
                <c:pt idx="1387">
                  <c:v>0.8625611589903159</c:v>
                </c:pt>
                <c:pt idx="1388">
                  <c:v>0.8755240496520256</c:v>
                </c:pt>
                <c:pt idx="1389">
                  <c:v>0.8947990145569664</c:v>
                </c:pt>
                <c:pt idx="1390">
                  <c:v>0.9115881206926599</c:v>
                </c:pt>
                <c:pt idx="1391">
                  <c:v>0.9115881206926599</c:v>
                </c:pt>
                <c:pt idx="1392">
                  <c:v>0.9115881206926599</c:v>
                </c:pt>
                <c:pt idx="1393">
                  <c:v>0.9295285907347783</c:v>
                </c:pt>
                <c:pt idx="1394">
                  <c:v>0.946283264226411</c:v>
                </c:pt>
                <c:pt idx="1395">
                  <c:v>0.9542738539679407</c:v>
                </c:pt>
                <c:pt idx="1396">
                  <c:v>0.972484004619945</c:v>
                </c:pt>
                <c:pt idx="1397">
                  <c:v>0.9862055887117802</c:v>
                </c:pt>
                <c:pt idx="1398">
                  <c:v>0.9862055887117802</c:v>
                </c:pt>
                <c:pt idx="1399">
                  <c:v>0.9862055887117802</c:v>
                </c:pt>
                <c:pt idx="1400">
                  <c:v>0.9767026702296864</c:v>
                </c:pt>
                <c:pt idx="1401">
                  <c:v>0.9804032052276961</c:v>
                </c:pt>
                <c:pt idx="1402">
                  <c:v>0.9896686856316639</c:v>
                </c:pt>
                <c:pt idx="1403">
                  <c:v>1.003186158577662</c:v>
                </c:pt>
                <c:pt idx="1404">
                  <c:v>0.9206480649986082</c:v>
                </c:pt>
                <c:pt idx="1405">
                  <c:v>0.9206480649986082</c:v>
                </c:pt>
                <c:pt idx="1406">
                  <c:v>0.9206480649986082</c:v>
                </c:pt>
                <c:pt idx="1407">
                  <c:v>0.8989733241363862</c:v>
                </c:pt>
                <c:pt idx="1408">
                  <c:v>0.8956647129899227</c:v>
                </c:pt>
                <c:pt idx="1409">
                  <c:v>0.8734282100912376</c:v>
                </c:pt>
                <c:pt idx="1410">
                  <c:v>0.8780605189391308</c:v>
                </c:pt>
                <c:pt idx="1411">
                  <c:v>0.9210513952324948</c:v>
                </c:pt>
                <c:pt idx="1412">
                  <c:v>0.9210513952324948</c:v>
                </c:pt>
                <c:pt idx="1413">
                  <c:v>0.9210513952324948</c:v>
                </c:pt>
                <c:pt idx="1414">
                  <c:v>0.9018388861636821</c:v>
                </c:pt>
                <c:pt idx="1415">
                  <c:v>0.8989101709005305</c:v>
                </c:pt>
                <c:pt idx="1416">
                  <c:v>0.9344499185556323</c:v>
                </c:pt>
                <c:pt idx="1417">
                  <c:v>0.9388035484184831</c:v>
                </c:pt>
                <c:pt idx="1418">
                  <c:v>0.9509018747233866</c:v>
                </c:pt>
                <c:pt idx="1419">
                  <c:v>0.9509018747233866</c:v>
                </c:pt>
                <c:pt idx="1420">
                  <c:v>0.9509018747233866</c:v>
                </c:pt>
                <c:pt idx="1421">
                  <c:v>0.9387624964010877</c:v>
                </c:pt>
                <c:pt idx="1422">
                  <c:v>0.9497837168369678</c:v>
                </c:pt>
                <c:pt idx="1423">
                  <c:v>0.9047915889857292</c:v>
                </c:pt>
                <c:pt idx="1424">
                  <c:v>0.8942355888518634</c:v>
                </c:pt>
                <c:pt idx="1425">
                  <c:v>0.8687591207816896</c:v>
                </c:pt>
                <c:pt idx="1426">
                  <c:v>0.8687591207816896</c:v>
                </c:pt>
                <c:pt idx="1427">
                  <c:v>0.8687591207816896</c:v>
                </c:pt>
                <c:pt idx="1428">
                  <c:v>0.8591613935629601</c:v>
                </c:pt>
                <c:pt idx="1429">
                  <c:v>0.8854188367613973</c:v>
                </c:pt>
                <c:pt idx="1430">
                  <c:v>0.9102634862259824</c:v>
                </c:pt>
                <c:pt idx="1431">
                  <c:v>0.9141598950356677</c:v>
                </c:pt>
                <c:pt idx="1432">
                  <c:v>0.9407570484161323</c:v>
                </c:pt>
                <c:pt idx="1433">
                  <c:v>0.9407570484161323</c:v>
                </c:pt>
                <c:pt idx="1434">
                  <c:v>0.9407570484161323</c:v>
                </c:pt>
                <c:pt idx="1435">
                  <c:v>0.930376464358112</c:v>
                </c:pt>
                <c:pt idx="1436">
                  <c:v>0.9611847001675222</c:v>
                </c:pt>
                <c:pt idx="1437">
                  <c:v>0.9548212620833179</c:v>
                </c:pt>
                <c:pt idx="1438">
                  <c:v>0.9483601552254892</c:v>
                </c:pt>
                <c:pt idx="1439">
                  <c:v>0.948319536124884</c:v>
                </c:pt>
                <c:pt idx="1440">
                  <c:v>0.948319536124884</c:v>
                </c:pt>
                <c:pt idx="1441">
                  <c:v>0.948319536124884</c:v>
                </c:pt>
                <c:pt idx="1442">
                  <c:v>0.9577991019152985</c:v>
                </c:pt>
                <c:pt idx="1443">
                  <c:v>0.9585357214240986</c:v>
                </c:pt>
                <c:pt idx="1444">
                  <c:v>0.9568854335398222</c:v>
                </c:pt>
                <c:pt idx="1445">
                  <c:v>0.9523753966895769</c:v>
                </c:pt>
                <c:pt idx="1446">
                  <c:v>0.9677061991337588</c:v>
                </c:pt>
                <c:pt idx="1447">
                  <c:v>0.9677061991337588</c:v>
                </c:pt>
                <c:pt idx="1448">
                  <c:v>0.9677061991337588</c:v>
                </c:pt>
                <c:pt idx="1449">
                  <c:v>0.9341193473832927</c:v>
                </c:pt>
                <c:pt idx="1450">
                  <c:v>0.9729490929159128</c:v>
                </c:pt>
                <c:pt idx="1451">
                  <c:v>0.9763818264960122</c:v>
                </c:pt>
                <c:pt idx="1452">
                  <c:v>0.9889780831364625</c:v>
                </c:pt>
                <c:pt idx="1453">
                  <c:v>0.9817805669447282</c:v>
                </c:pt>
                <c:pt idx="1454">
                  <c:v>0.9817805669447282</c:v>
                </c:pt>
                <c:pt idx="1455">
                  <c:v>0.9817805669447282</c:v>
                </c:pt>
                <c:pt idx="1456">
                  <c:v>0.9926928327369611</c:v>
                </c:pt>
                <c:pt idx="1457">
                  <c:v>0.9844021664548623</c:v>
                </c:pt>
                <c:pt idx="1458">
                  <c:v>0.9993108821643935</c:v>
                </c:pt>
                <c:pt idx="1459">
                  <c:v>1.020149906497616</c:v>
                </c:pt>
                <c:pt idx="1460">
                  <c:v>1.0239015328445809</c:v>
                </c:pt>
                <c:pt idx="1461">
                  <c:v>1.0239015328445809</c:v>
                </c:pt>
                <c:pt idx="1462">
                  <c:v>1.0239015328445809</c:v>
                </c:pt>
                <c:pt idx="1463">
                  <c:v>1.0345698819378777</c:v>
                </c:pt>
                <c:pt idx="1464">
                  <c:v>1.0451028790444337</c:v>
                </c:pt>
                <c:pt idx="1465">
                  <c:v>1.0562044335314926</c:v>
                </c:pt>
                <c:pt idx="1466">
                  <c:v>1.0933251756286335</c:v>
                </c:pt>
                <c:pt idx="1467">
                  <c:v>1.059488609508731</c:v>
                </c:pt>
                <c:pt idx="1468">
                  <c:v>1.059488609508731</c:v>
                </c:pt>
                <c:pt idx="1469">
                  <c:v>1.059488609508731</c:v>
                </c:pt>
                <c:pt idx="1470">
                  <c:v>1.0658151413225934</c:v>
                </c:pt>
                <c:pt idx="1471">
                  <c:v>1.0534807918004154</c:v>
                </c:pt>
                <c:pt idx="1472">
                  <c:v>1.0314805830077902</c:v>
                </c:pt>
                <c:pt idx="1473">
                  <c:v>1.0430914961883695</c:v>
                </c:pt>
                <c:pt idx="1474">
                  <c:v>1.059929877313445</c:v>
                </c:pt>
                <c:pt idx="1475">
                  <c:v>1.059929877313445</c:v>
                </c:pt>
                <c:pt idx="1476">
                  <c:v>1.059929877313445</c:v>
                </c:pt>
                <c:pt idx="1477">
                  <c:v>1.0781653868654955</c:v>
                </c:pt>
                <c:pt idx="1478">
                  <c:v>1.0784454601928886</c:v>
                </c:pt>
                <c:pt idx="1479">
                  <c:v>1.0534838814335443</c:v>
                </c:pt>
                <c:pt idx="1480">
                  <c:v>1.0514757839007864</c:v>
                </c:pt>
                <c:pt idx="1481">
                  <c:v>1.067493685941011</c:v>
                </c:pt>
                <c:pt idx="1482">
                  <c:v>1.067493685941011</c:v>
                </c:pt>
                <c:pt idx="1483">
                  <c:v>1.067493685941011</c:v>
                </c:pt>
                <c:pt idx="1484">
                  <c:v>1.0620667083279045</c:v>
                </c:pt>
                <c:pt idx="1485">
                  <c:v>1.085353211257865</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434753227300984</c:v>
                </c:pt>
                <c:pt idx="1">
                  <c:v>0.06118098162950726</c:v>
                </c:pt>
                <c:pt idx="2">
                  <c:v>0.09493236830602786</c:v>
                </c:pt>
                <c:pt idx="3">
                  <c:v>0.3010616704276201</c:v>
                </c:pt>
                <c:pt idx="4">
                  <c:v>0.21332978020362467</c:v>
                </c:pt>
                <c:pt idx="5">
                  <c:v>0.07935634116169918</c:v>
                </c:pt>
                <c:pt idx="6">
                  <c:v>0.13001859563783677</c:v>
                </c:pt>
                <c:pt idx="7">
                  <c:v>0.024957194079747124</c:v>
                </c:pt>
                <c:pt idx="8">
                  <c:v>0.04488730725594899</c:v>
                </c:pt>
                <c:pt idx="9">
                  <c:v>0.006800438567889719</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6843331062140103</c:v>
                </c:pt>
                <c:pt idx="1">
                  <c:v>0.17545489939295086</c:v>
                </c:pt>
                <c:pt idx="2">
                  <c:v>0.08598923446429323</c:v>
                </c:pt>
                <c:pt idx="3">
                  <c:v>0.047422321360855835</c:v>
                </c:pt>
                <c:pt idx="4">
                  <c:v>0.006800438567889719</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9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TSMC - ADR</a:t>
                      </a:r>
                    </a:p>
                  </a:txBody>
                  <a:tcPr marL="36000" marR="36000" anchor="ctr"/>
                </a:tc>
                <a:tc>
                  <a:txBody>
                    <a:bodyPr/>
                    <a:lstStyle/>
                    <a:p>
                      <a:pPr algn="ctr"/>
                      <a:r>
                        <a:rPr lang="en-GB" sz="900" dirty="0">
                          <a:solidFill>
                            <a:schemeClr val="bg1"/>
                          </a:solidFill>
                          <a:latin typeface="Bierstadt" panose="020B0004020202020204" pitchFamily="34" charset="0"/>
                        </a:rPr>
                        <a:t>8.60%</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NVIDIA Corp.</a:t>
                      </a:r>
                    </a:p>
                  </a:txBody>
                  <a:tcPr marL="36000" marR="36000" anchor="ctr"/>
                </a:tc>
                <a:tc>
                  <a:txBody>
                    <a:bodyPr/>
                    <a:lstStyle/>
                    <a:p>
                      <a:pPr algn="ctr"/>
                      <a:r>
                        <a:rPr lang="en-GB" sz="900" dirty="0">
                          <a:solidFill>
                            <a:schemeClr val="bg1"/>
                          </a:solidFill>
                          <a:latin typeface="Bierstadt" panose="020B0004020202020204" pitchFamily="34" charset="0"/>
                        </a:rPr>
                        <a:t>8.16%</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94%</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 Chase &amp; Co.</a:t>
                      </a:r>
                    </a:p>
                  </a:txBody>
                  <a:tcPr marL="36000" marR="36000" anchor="ctr"/>
                </a:tc>
                <a:tc>
                  <a:txBody>
                    <a:bodyPr/>
                    <a:lstStyle/>
                    <a:p>
                      <a:pPr algn="ctr"/>
                      <a:r>
                        <a:rPr lang="en-GB" sz="900" dirty="0">
                          <a:solidFill>
                            <a:schemeClr val="bg1"/>
                          </a:solidFill>
                          <a:latin typeface="Bierstadt" panose="020B0004020202020204" pitchFamily="34" charset="0"/>
                        </a:rPr>
                        <a:t>7.20%</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34%</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8%</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57%</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9.30%</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0.47</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9%</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65%</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6%</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Commentary generation disabled: OPENAI_API_KEY not set.</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